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4"/>
  </p:sldMasterIdLst>
  <p:notesMasterIdLst>
    <p:notesMasterId r:id="rId24"/>
  </p:notesMasterIdLst>
  <p:handoutMasterIdLst>
    <p:handoutMasterId r:id="rId25"/>
  </p:handoutMasterIdLst>
  <p:sldIdLst>
    <p:sldId id="342" r:id="rId5"/>
    <p:sldId id="2134804562" r:id="rId6"/>
    <p:sldId id="2147377413" r:id="rId7"/>
    <p:sldId id="2147377414" r:id="rId8"/>
    <p:sldId id="2147377415" r:id="rId9"/>
    <p:sldId id="2147377424" r:id="rId10"/>
    <p:sldId id="2147377425" r:id="rId11"/>
    <p:sldId id="2147377416" r:id="rId12"/>
    <p:sldId id="2147377417" r:id="rId13"/>
    <p:sldId id="2147377418" r:id="rId14"/>
    <p:sldId id="263" r:id="rId15"/>
    <p:sldId id="264" r:id="rId16"/>
    <p:sldId id="266" r:id="rId17"/>
    <p:sldId id="290" r:id="rId18"/>
    <p:sldId id="2147377419" r:id="rId19"/>
    <p:sldId id="2147377420" r:id="rId20"/>
    <p:sldId id="271" r:id="rId21"/>
    <p:sldId id="2147377421" r:id="rId22"/>
    <p:sldId id="2147377423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727" userDrawn="1">
          <p15:clr>
            <a:srgbClr val="A4A3A4"/>
          </p15:clr>
        </p15:guide>
        <p15:guide id="4" pos="3953" userDrawn="1">
          <p15:clr>
            <a:srgbClr val="A4A3A4"/>
          </p15:clr>
        </p15:guide>
        <p15:guide id="5" pos="7378" userDrawn="1">
          <p15:clr>
            <a:srgbClr val="A4A3A4"/>
          </p15:clr>
        </p15:guide>
        <p15:guide id="6" pos="302" userDrawn="1">
          <p15:clr>
            <a:srgbClr val="A4A3A4"/>
          </p15:clr>
        </p15:guide>
        <p15:guide id="7" orient="horz" pos="1321" userDrawn="1">
          <p15:clr>
            <a:srgbClr val="A4A3A4"/>
          </p15:clr>
        </p15:guide>
        <p15:guide id="8" orient="horz" pos="3884" userDrawn="1">
          <p15:clr>
            <a:srgbClr val="A4A3A4"/>
          </p15:clr>
        </p15:guide>
        <p15:guide id="9" orient="horz" pos="1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5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8" autoAdjust="0"/>
    <p:restoredTop sz="96807" autoAdjust="0"/>
  </p:normalViewPr>
  <p:slideViewPr>
    <p:cSldViewPr snapToGrid="0" showGuides="1">
      <p:cViewPr varScale="1">
        <p:scale>
          <a:sx n="103" d="100"/>
          <a:sy n="103" d="100"/>
        </p:scale>
        <p:origin x="200" y="560"/>
      </p:cViewPr>
      <p:guideLst>
        <p:guide orient="horz" pos="2160"/>
        <p:guide pos="3840"/>
        <p:guide pos="3727"/>
        <p:guide pos="3953"/>
        <p:guide pos="7378"/>
        <p:guide pos="302"/>
        <p:guide orient="horz" pos="1321"/>
        <p:guide orient="horz" pos="3884"/>
        <p:guide orient="horz" pos="14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306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AB551A8-63AC-4492-B727-E0CB3185B6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9D7608-A856-42E2-8E6B-EA2B09F221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87E6D5-0954-46AC-86EF-F2734DFA9780}" type="datetimeFigureOut">
              <a:rPr lang="de-DE" smtClean="0">
                <a:latin typeface="Consolas" panose="020B0609020204030204" pitchFamily="49" charset="0"/>
              </a:rPr>
              <a:t>30.04.24</a:t>
            </a:fld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C6E522-4BFC-4739-A5B2-60DDCC073A2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90A0C6-57A4-46F8-B201-6659CD2EA71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DC31C8-5163-4FD7-8AE7-7249B91659A3}" type="slidenum">
              <a:rPr lang="de-DE" smtClean="0">
                <a:latin typeface="Consolas" panose="020B0609020204030204" pitchFamily="49" charset="0"/>
              </a:rPr>
              <a:t>‹#›</a:t>
            </a:fld>
            <a:endParaRPr lang="de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291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nsolas" panose="020B0609020204030204" pitchFamily="49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nsolas" panose="020B0609020204030204" pitchFamily="49" charset="0"/>
              </a:defRPr>
            </a:lvl1pPr>
          </a:lstStyle>
          <a:p>
            <a:fld id="{93369988-E83C-4DC2-9C5C-EF373E60A679}" type="datetimeFigureOut">
              <a:rPr lang="de-DE" smtClean="0"/>
              <a:pPr/>
              <a:t>30.04.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nsolas" panose="020B0609020204030204" pitchFamily="49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nsolas" panose="020B0609020204030204" pitchFamily="49" charset="0"/>
              </a:defRPr>
            </a:lvl1pPr>
          </a:lstStyle>
          <a:p>
            <a:fld id="{261968FC-EEA7-4B77-9DFC-80DB758BD04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19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nsolas" panose="020B0609020204030204" pitchFamily="49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nsolas" panose="020B0609020204030204" pitchFamily="49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nsolas" panose="020B0609020204030204" pitchFamily="49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nsolas" panose="020B0609020204030204" pitchFamily="49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nsolas" panose="020B0609020204030204" pitchFamily="49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1968FC-EEA7-4B77-9DFC-80DB758BD04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2431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ch bin übrigens </a:t>
            </a:r>
            <a:r>
              <a:rPr lang="de-DE" err="1"/>
              <a:t>Maximilane</a:t>
            </a:r>
            <a:r>
              <a:rPr lang="de-DE"/>
              <a:t> Musterfrau, ich bin…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1968FC-EEA7-4B77-9DFC-80DB758BD04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0838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CAE649-6D75-4184-9AAC-C9C8C2427F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25424"/>
            <a:ext cx="11233150" cy="3114755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0" b="0" i="0">
                <a:solidFill>
                  <a:schemeClr val="accent1"/>
                </a:solidFill>
                <a:latin typeface="Consolas" panose="020B0609020204030204" pitchFamily="49" charset="0"/>
              </a:defRPr>
            </a:lvl1pPr>
          </a:lstStyle>
          <a:p>
            <a:r>
              <a:rPr lang="de-DE" dirty="0"/>
              <a:t>Titel der Präsentation </a:t>
            </a:r>
            <a:br>
              <a:rPr lang="de-DE" dirty="0"/>
            </a:br>
            <a:r>
              <a:rPr lang="de-DE" dirty="0"/>
              <a:t>(in 1-4 Zeilen)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906FE4E-3445-4CAE-9336-985BCCCCE80F}"/>
              </a:ext>
            </a:extLst>
          </p:cNvPr>
          <p:cNvSpPr/>
          <p:nvPr/>
        </p:nvSpPr>
        <p:spPr bwMode="gray">
          <a:xfrm>
            <a:off x="479425" y="3430217"/>
            <a:ext cx="5461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00381A3-6A0D-4EB8-A0A6-0F8DE482B524}"/>
              </a:ext>
            </a:extLst>
          </p:cNvPr>
          <p:cNvGrpSpPr/>
          <p:nvPr/>
        </p:nvGrpSpPr>
        <p:grpSpPr bwMode="gray">
          <a:xfrm>
            <a:off x="8264525" y="5419212"/>
            <a:ext cx="2959100" cy="65015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934A5BB0-DD7D-4E22-843C-0146FCA54D5F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3907415-01EB-457F-AB99-16F314ABBF92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CC88B33-46B2-49CA-9C6B-B18DF55E24A2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C4F4F4C-B5BE-45DB-B098-E685BBC7928F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DF3511DC-8379-4267-9446-937BF8F536B1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D857FB1D-939C-4E60-807E-4B9C37ADD159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28D0C2B2-BB1A-4C82-827A-396ED0F0BB92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9F28C477-2B26-4E6A-B8B6-9A7831396247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5DF43928-2FAD-44A8-BE31-989E14FB38FE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A30C918A-341E-4A67-8689-93E7B7E5B9CA}"/>
              </a:ext>
            </a:extLst>
          </p:cNvPr>
          <p:cNvSpPr/>
          <p:nvPr/>
        </p:nvSpPr>
        <p:spPr bwMode="gray">
          <a:xfrm>
            <a:off x="0" y="676656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000CF73A-3EF9-AD43-CF06-D8BB6B0E63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3602117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C4DFA4C-11F6-3076-6A45-142B9B75E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5790012"/>
            <a:ext cx="1551707" cy="215444"/>
          </a:xfrm>
        </p:spPr>
        <p:txBody>
          <a:bodyPr wrap="none"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sz="1400" dirty="0">
                <a:solidFill>
                  <a:schemeClr val="bg1"/>
                </a:solidFill>
              </a:rPr>
              <a:t>Ort, xx. Monat 20xx</a:t>
            </a:r>
          </a:p>
        </p:txBody>
      </p:sp>
    </p:spTree>
    <p:extLst>
      <p:ext uri="{BB962C8B-B14F-4D97-AF65-F5344CB8AC3E}">
        <p14:creationId xmlns:p14="http://schemas.microsoft.com/office/powerpoint/2010/main" val="1758245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2097089"/>
            <a:ext cx="5437189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629FF23-36F2-4DE7-A24B-F6787F0380A9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A4E14737-C899-4B0A-A9DB-AF7AAA762F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75389" y="2097089"/>
            <a:ext cx="5437189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A44712E0-E3EF-4B43-812D-4E1B6B88A1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57F9ED15-DD88-41ED-9C77-48F5E045AEF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871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2097089"/>
            <a:ext cx="3502026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D2B51E8A-2EED-4DAA-AA7B-9D720E7D81C8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A4E14737-C899-4B0A-A9DB-AF7AAA762F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403725" y="2097089"/>
            <a:ext cx="3375025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A44712E0-E3EF-4B43-812D-4E1B6B88A1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57F9ED15-DD88-41ED-9C77-48F5E045AEF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8BE7889-C96D-954F-7A7C-6C1166872F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204200" y="2097089"/>
            <a:ext cx="3508375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65506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039C958-E6B5-4893-943D-73E2BEBC5AD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992935" y="91440"/>
            <a:ext cx="5199064" cy="676656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225425"/>
            <a:ext cx="6154735" cy="11065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3" y="2097089"/>
            <a:ext cx="6154737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CE143BF-66A9-4C96-8A54-FD87D149078A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14B19BF0-8BB4-4ED5-8C2C-AFA677E49B9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267006D8-7819-F405-8CE8-EF6AA1D7EB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6154735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8900897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91FBE-2F77-4A0F-B707-A4A82CD0F4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pc="0"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483A63-32FF-4D6F-ACF8-919D7ADCF50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9D8367F-3773-4E5E-819A-540E7B920398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BA58F74-18FE-45D9-B3C8-4EF98BD67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1B47E8-7621-4B9C-8787-AC133B7770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077B63FE-6F2D-4B43-AD60-236BD91252B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EBA64146-BAA4-EF85-1F14-5F7AEA04FA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954525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642878-5625-9B38-EDA7-AAACFA876A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0" y="90534"/>
            <a:ext cx="12192000" cy="6767465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22461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2097089"/>
            <a:ext cx="5437189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229B6BCF-1034-4050-B7C5-F8D7E9770061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039C958-E6B5-4893-943D-73E2BEBC5AD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275388" y="2097090"/>
            <a:ext cx="5437187" cy="406876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15C1D19E-7FF7-4406-83CE-38B7EBBEB5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C64808E6-CD57-7460-92C7-F56CE9BE38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84894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225425"/>
            <a:ext cx="5437188" cy="11065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2097089"/>
            <a:ext cx="5437189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EF541AE-14F6-47A3-9E5A-32D3930DCE6C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039C958-E6B5-4893-943D-73E2BEBC5AD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273245" y="225424"/>
            <a:ext cx="5437189" cy="288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15C1D19E-7FF7-4406-83CE-38B7EBBEB5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C64808E6-CD57-7460-92C7-F56CE9BE38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5437188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5AA347D5-7F1A-7F92-20AA-E5C20C22F58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6275388" y="3285851"/>
            <a:ext cx="5437189" cy="288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887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225425"/>
            <a:ext cx="5437188" cy="11065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2097089"/>
            <a:ext cx="5437189" cy="40687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5F750FD-A767-4C69-95FF-C6884297CD69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039C958-E6B5-4893-943D-73E2BEBC5AD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273245" y="225424"/>
            <a:ext cx="2610000" cy="288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15C1D19E-7FF7-4406-83CE-38B7EBBEB5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C64808E6-CD57-7460-92C7-F56CE9BE38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5437188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5AA347D5-7F1A-7F92-20AA-E5C20C22F58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6275388" y="3285851"/>
            <a:ext cx="5437189" cy="288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9D6F5E50-A4F1-23E1-F1B6-6997AAF9CD3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102575" y="225425"/>
            <a:ext cx="2610000" cy="288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8365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4082379"/>
            <a:ext cx="3502026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2283451C-5E43-4E95-A120-E30943180503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A4E14737-C899-4B0A-A9DB-AF7AAA762F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403725" y="4082379"/>
            <a:ext cx="3375025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A44712E0-E3EF-4B43-812D-4E1B6B88A1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57F9ED15-DD88-41ED-9C77-48F5E045AEF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8BE7889-C96D-954F-7A7C-6C1166872F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204200" y="4082379"/>
            <a:ext cx="3508375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E1F8ACD-02C0-D066-E66E-8CC8DB116C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479426" y="2097088"/>
            <a:ext cx="3502025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EAE4ECDB-7165-4379-C693-C65EB7F7233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210550" y="2097088"/>
            <a:ext cx="3502025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07079558-C573-338E-175B-0ACAB06884C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4403725" y="2097088"/>
            <a:ext cx="3375025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39566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4082379"/>
            <a:ext cx="2502000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9DD7C3F3-43E1-42A8-AD7C-DB553550672B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A4E14737-C899-4B0A-A9DB-AF7AAA762F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413125" y="4082379"/>
            <a:ext cx="2503489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A44712E0-E3EF-4B43-812D-4E1B6B88A1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57F9ED15-DD88-41ED-9C77-48F5E045AEF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8BE7889-C96D-954F-7A7C-6C1166872F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73900" y="4082379"/>
            <a:ext cx="2502000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E1F8ACD-02C0-D066-E66E-8CC8DB116C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476253" y="2097088"/>
            <a:ext cx="2503488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EAE4ECDB-7165-4379-C693-C65EB7F7233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273900" y="2097088"/>
            <a:ext cx="2503489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07079558-C573-338E-175B-0ACAB06884C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3413126" y="2097088"/>
            <a:ext cx="2503488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EF42274E-EFDF-BF8A-D317-62134BDF2D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209085" y="4082379"/>
            <a:ext cx="2502000" cy="208347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51C56621-F5F7-2113-64DA-2B522235CB6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9209085" y="2097088"/>
            <a:ext cx="2502000" cy="1800000"/>
          </a:xfrm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2749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CAE649-6D75-4184-9AAC-C9C8C2427F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6" y="225424"/>
            <a:ext cx="4670798" cy="3114755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>
                <a:solidFill>
                  <a:schemeClr val="accent1"/>
                </a:solidFill>
                <a:latin typeface="Consolas" panose="020B0609020204030204" pitchFamily="49" charset="0"/>
              </a:defRPr>
            </a:lvl1pPr>
          </a:lstStyle>
          <a:p>
            <a:r>
              <a:rPr lang="de-DE" dirty="0"/>
              <a:t>Titel der Präsentation </a:t>
            </a:r>
            <a:br>
              <a:rPr lang="de-DE" dirty="0"/>
            </a:br>
            <a:r>
              <a:rPr lang="de-DE" dirty="0"/>
              <a:t>(in 1-4 Zeilen)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906FE4E-3445-4CAE-9336-985BCCCCE80F}"/>
              </a:ext>
            </a:extLst>
          </p:cNvPr>
          <p:cNvSpPr/>
          <p:nvPr/>
        </p:nvSpPr>
        <p:spPr bwMode="gray">
          <a:xfrm>
            <a:off x="479425" y="3430217"/>
            <a:ext cx="5461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00381A3-6A0D-4EB8-A0A6-0F8DE482B524}"/>
              </a:ext>
            </a:extLst>
          </p:cNvPr>
          <p:cNvGrpSpPr/>
          <p:nvPr/>
        </p:nvGrpSpPr>
        <p:grpSpPr bwMode="gray">
          <a:xfrm>
            <a:off x="332582" y="5774507"/>
            <a:ext cx="2091480" cy="459526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934A5BB0-DD7D-4E22-843C-0146FCA54D5F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3907415-01EB-457F-AB99-16F314ABBF92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CC88B33-46B2-49CA-9C6B-B18DF55E24A2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C4F4F4C-B5BE-45DB-B098-E685BBC7928F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DF3511DC-8379-4267-9446-937BF8F536B1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D857FB1D-939C-4E60-807E-4B9C37ADD159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28D0C2B2-BB1A-4C82-827A-396ED0F0BB92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9F28C477-2B26-4E6A-B8B6-9A7831396247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5DF43928-2FAD-44A8-BE31-989E14FB38FE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A30C918A-341E-4A67-8689-93E7B7E5B9CA}"/>
              </a:ext>
            </a:extLst>
          </p:cNvPr>
          <p:cNvSpPr/>
          <p:nvPr/>
        </p:nvSpPr>
        <p:spPr bwMode="gray">
          <a:xfrm>
            <a:off x="0" y="676656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000CF73A-3EF9-AD43-CF06-D8BB6B0E63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3602117"/>
            <a:ext cx="4670799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25" name="Bildplatzhalter 14">
            <a:extLst>
              <a:ext uri="{FF2B5EF4-FFF2-40B4-BE49-F238E27FC236}">
                <a16:creationId xmlns:a16="http://schemas.microsoft.com/office/drawing/2014/main" id="{492E0DAB-4C0D-35B5-2D6E-B2AAD4DD5D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50225" y="-418"/>
            <a:ext cx="7041775" cy="6766977"/>
          </a:xfrm>
          <a:custGeom>
            <a:avLst/>
            <a:gdLst>
              <a:gd name="connsiteX0" fmla="*/ 0 w 6311900"/>
              <a:gd name="connsiteY0" fmla="*/ 0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1668684 w 6311900"/>
              <a:gd name="connsiteY5" fmla="*/ 3429000 h 6858000"/>
              <a:gd name="connsiteX6" fmla="*/ 0 w 6311900"/>
              <a:gd name="connsiteY6" fmla="*/ 253 h 6858000"/>
              <a:gd name="connsiteX0" fmla="*/ 0 w 6311900"/>
              <a:gd name="connsiteY0" fmla="*/ 0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0 w 6311900"/>
              <a:gd name="connsiteY5" fmla="*/ 253 h 6858000"/>
              <a:gd name="connsiteX6" fmla="*/ 0 w 6311900"/>
              <a:gd name="connsiteY6" fmla="*/ 0 h 6858000"/>
              <a:gd name="connsiteX0" fmla="*/ 2211776 w 6311900"/>
              <a:gd name="connsiteY0" fmla="*/ 0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0 w 6311900"/>
              <a:gd name="connsiteY5" fmla="*/ 253 h 6858000"/>
              <a:gd name="connsiteX6" fmla="*/ 2211776 w 6311900"/>
              <a:gd name="connsiteY6" fmla="*/ 0 h 6858000"/>
              <a:gd name="connsiteX0" fmla="*/ 0 w 6311900"/>
              <a:gd name="connsiteY0" fmla="*/ 253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0 w 6311900"/>
              <a:gd name="connsiteY5" fmla="*/ 253 h 6858000"/>
              <a:gd name="connsiteX0" fmla="*/ 2916893 w 6311900"/>
              <a:gd name="connsiteY0" fmla="*/ 253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2916893 w 6311900"/>
              <a:gd name="connsiteY5" fmla="*/ 253 h 6858000"/>
              <a:gd name="connsiteX0" fmla="*/ 1289701 w 6311900"/>
              <a:gd name="connsiteY0" fmla="*/ 27509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1289701 w 6311900"/>
              <a:gd name="connsiteY5" fmla="*/ 27509 h 6858000"/>
              <a:gd name="connsiteX0" fmla="*/ 1283719 w 6311900"/>
              <a:gd name="connsiteY0" fmla="*/ 0 h 6860930"/>
              <a:gd name="connsiteX1" fmla="*/ 6311900 w 6311900"/>
              <a:gd name="connsiteY1" fmla="*/ 2930 h 6860930"/>
              <a:gd name="connsiteX2" fmla="*/ 6311900 w 6311900"/>
              <a:gd name="connsiteY2" fmla="*/ 6860930 h 6860930"/>
              <a:gd name="connsiteX3" fmla="*/ 0 w 6311900"/>
              <a:gd name="connsiteY3" fmla="*/ 6860930 h 6860930"/>
              <a:gd name="connsiteX4" fmla="*/ 0 w 6311900"/>
              <a:gd name="connsiteY4" fmla="*/ 6860676 h 6860930"/>
              <a:gd name="connsiteX5" fmla="*/ 1283719 w 6311900"/>
              <a:gd name="connsiteY5" fmla="*/ 0 h 6860930"/>
              <a:gd name="connsiteX0" fmla="*/ 1283719 w 6311900"/>
              <a:gd name="connsiteY0" fmla="*/ 453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1283719 w 6311900"/>
              <a:gd name="connsiteY5" fmla="*/ 4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1900" h="6858000">
                <a:moveTo>
                  <a:pt x="1283719" y="453"/>
                </a:moveTo>
                <a:lnTo>
                  <a:pt x="6311900" y="0"/>
                </a:lnTo>
                <a:lnTo>
                  <a:pt x="6311900" y="6858000"/>
                </a:lnTo>
                <a:lnTo>
                  <a:pt x="0" y="6858000"/>
                </a:lnTo>
                <a:lnTo>
                  <a:pt x="0" y="6857746"/>
                </a:lnTo>
                <a:lnTo>
                  <a:pt x="1283719" y="45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800000" anchor="ctr" anchorCtr="0">
            <a:noAutofit/>
          </a:bodyPr>
          <a:lstStyle>
            <a:lvl1pPr algn="ctr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2503CFB-92BA-C629-B683-453C9EE550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515637"/>
            <a:ext cx="1546225" cy="215444"/>
          </a:xfrm>
        </p:spPr>
        <p:txBody>
          <a:bodyPr wrap="none">
            <a:sp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Ort, xx. Monat 20xx</a:t>
            </a:r>
          </a:p>
        </p:txBody>
      </p:sp>
    </p:spTree>
    <p:extLst>
      <p:ext uri="{BB962C8B-B14F-4D97-AF65-F5344CB8AC3E}">
        <p14:creationId xmlns:p14="http://schemas.microsoft.com/office/powerpoint/2010/main" val="6651864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6A68E3AB-F3FA-5188-4745-DD20CD82EFEE}"/>
              </a:ext>
            </a:extLst>
          </p:cNvPr>
          <p:cNvSpPr/>
          <p:nvPr userDrawn="1"/>
        </p:nvSpPr>
        <p:spPr bwMode="gray">
          <a:xfrm>
            <a:off x="631823" y="2617004"/>
            <a:ext cx="6480000" cy="352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CE84624-8A6C-E6B8-3441-82D5E429A2D0}"/>
              </a:ext>
            </a:extLst>
          </p:cNvPr>
          <p:cNvSpPr/>
          <p:nvPr userDrawn="1"/>
        </p:nvSpPr>
        <p:spPr bwMode="gray">
          <a:xfrm>
            <a:off x="479423" y="2465905"/>
            <a:ext cx="6480000" cy="35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32E06B5-48C1-44E2-933D-73017DE137BF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5F37B65-89F6-45DE-872F-CB9A90742764}"/>
              </a:ext>
            </a:extLst>
          </p:cNvPr>
          <p:cNvGrpSpPr/>
          <p:nvPr/>
        </p:nvGrpSpPr>
        <p:grpSpPr bwMode="gray">
          <a:xfrm>
            <a:off x="479425" y="1161490"/>
            <a:ext cx="2959100" cy="65015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2F44F48-6F23-49B1-83C5-A5E77548050D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A78E777-3815-4008-A784-58D1CA2F0476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E0EAB52-8E97-4091-A5D0-951BA928D693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C818C7E-5004-41F0-A94C-2B9EAA78E129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700FE273-4ACC-4B96-AA0F-5167CA356DFC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67879D8-8CAE-48B2-B1A2-0DB9D87146C4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2A00D50-3AAB-4C14-89D1-7EFD22C2103E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7F60A071-A02F-4EAC-820A-1A922C865261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EB14B7-1173-45F1-AE1C-CB3D31BCBF0B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077B63FE-6F2D-4B43-AD60-236BD91252B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4955" y="3653432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B363D5-C07C-4235-B5A8-11C01B21F92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6055" y="4234019"/>
            <a:ext cx="5795963" cy="492443"/>
          </a:xfr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lang="de-DE" sz="1600" kern="1200" dirty="0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>
                <a:effectLst/>
              </a:rPr>
              <a:t>Telefon </a:t>
            </a:r>
            <a:br>
              <a:rPr lang="de-DE" dirty="0">
                <a:effectLst/>
              </a:rPr>
            </a:br>
            <a:r>
              <a:rPr lang="de-DE" dirty="0">
                <a:effectLst/>
              </a:rPr>
              <a:t>E-Mail</a:t>
            </a:r>
            <a:endParaRPr lang="de-DE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2E3CD954-48A8-A8AC-7A7D-F482D4D031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6055" y="4977990"/>
            <a:ext cx="5795963" cy="738664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lang="de-DE" sz="1600" kern="1200" dirty="0" smtClean="0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Schwarz IT KG</a:t>
            </a:r>
            <a:br>
              <a:rPr lang="de-DE" dirty="0"/>
            </a:br>
            <a:r>
              <a:rPr lang="de-DE" dirty="0"/>
              <a:t>Stiftsbergstraße 1</a:t>
            </a:r>
            <a:br>
              <a:rPr lang="de-DE" dirty="0"/>
            </a:br>
            <a:r>
              <a:rPr lang="de-DE" dirty="0"/>
              <a:t>D-74172 Neckarsulm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D88313A6-1AFE-F570-9750-7C9A9B9E42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163" y="2587750"/>
            <a:ext cx="5789612" cy="913282"/>
          </a:xfrm>
        </p:spPr>
        <p:txBody>
          <a:bodyPr anchor="b" anchorCtr="0"/>
          <a:lstStyle>
            <a:lvl1pPr>
              <a:defRPr sz="2400"/>
            </a:lvl1pPr>
            <a:lvl2pPr>
              <a:defRPr sz="1600">
                <a:solidFill>
                  <a:schemeClr val="accent2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8C5CE5B-D8D9-DB61-A880-E39F61F043A7}"/>
              </a:ext>
            </a:extLst>
          </p:cNvPr>
          <p:cNvSpPr txBox="1"/>
          <p:nvPr userDrawn="1"/>
        </p:nvSpPr>
        <p:spPr bwMode="gray">
          <a:xfrm>
            <a:off x="786055" y="3813214"/>
            <a:ext cx="1356012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 err="1">
                <a:solidFill>
                  <a:schemeClr val="accent2"/>
                </a:solidFill>
                <a:effectLst/>
              </a:rPr>
              <a:t>www.stackit.de</a:t>
            </a:r>
            <a:endParaRPr lang="de-DE" sz="16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518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kurz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ED07D11C-E821-4A20-99A2-6F96C445B3F6}"/>
              </a:ext>
            </a:extLst>
          </p:cNvPr>
          <p:cNvSpPr/>
          <p:nvPr userDrawn="1"/>
        </p:nvSpPr>
        <p:spPr bwMode="gray">
          <a:xfrm>
            <a:off x="631823" y="2617004"/>
            <a:ext cx="6480000" cy="19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731938D-835C-13F4-FE5C-1424A96300F9}"/>
              </a:ext>
            </a:extLst>
          </p:cNvPr>
          <p:cNvSpPr/>
          <p:nvPr userDrawn="1"/>
        </p:nvSpPr>
        <p:spPr bwMode="gray">
          <a:xfrm>
            <a:off x="479423" y="2465905"/>
            <a:ext cx="6480000" cy="19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32E06B5-48C1-44E2-933D-73017DE137BF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5F37B65-89F6-45DE-872F-CB9A90742764}"/>
              </a:ext>
            </a:extLst>
          </p:cNvPr>
          <p:cNvGrpSpPr/>
          <p:nvPr/>
        </p:nvGrpSpPr>
        <p:grpSpPr bwMode="gray">
          <a:xfrm>
            <a:off x="479425" y="1161490"/>
            <a:ext cx="2959100" cy="65015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2F44F48-6F23-49B1-83C5-A5E77548050D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A78E777-3815-4008-A784-58D1CA2F0476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E0EAB52-8E97-4091-A5D0-951BA928D693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C818C7E-5004-41F0-A94C-2B9EAA78E129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700FE273-4ACC-4B96-AA0F-5167CA356DFC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67879D8-8CAE-48B2-B1A2-0DB9D87146C4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2A00D50-3AAB-4C14-89D1-7EFD22C2103E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7F60A071-A02F-4EAC-820A-1A922C865261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EB14B7-1173-45F1-AE1C-CB3D31BCBF0B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6" name="Inhaltsplatzhalter 6">
            <a:extLst>
              <a:ext uri="{FF2B5EF4-FFF2-40B4-BE49-F238E27FC236}">
                <a16:creationId xmlns:a16="http://schemas.microsoft.com/office/drawing/2014/main" id="{373FDA67-C211-811D-FDE5-FABD5DFF648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4955" y="3653432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None/>
              <a:defRPr sz="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B449A5D9-6682-8684-C0F8-6A912DC482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163" y="2587750"/>
            <a:ext cx="5789612" cy="913282"/>
          </a:xfrm>
        </p:spPr>
        <p:txBody>
          <a:bodyPr anchor="b" anchorCtr="0"/>
          <a:lstStyle>
            <a:lvl1pPr>
              <a:defRPr sz="2400"/>
            </a:lvl1pPr>
            <a:lvl2pPr>
              <a:defRPr sz="1600">
                <a:solidFill>
                  <a:schemeClr val="accent2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3444837-8900-E580-B4A8-AAA2BAFC6E77}"/>
              </a:ext>
            </a:extLst>
          </p:cNvPr>
          <p:cNvSpPr txBox="1"/>
          <p:nvPr userDrawn="1"/>
        </p:nvSpPr>
        <p:spPr bwMode="gray">
          <a:xfrm>
            <a:off x="786055" y="3813214"/>
            <a:ext cx="1356012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 err="1">
                <a:solidFill>
                  <a:schemeClr val="accent2"/>
                </a:solidFill>
                <a:effectLst/>
              </a:rPr>
              <a:t>www.stackit.de</a:t>
            </a:r>
            <a:endParaRPr lang="de-DE" sz="16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5444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232E06B5-48C1-44E2-933D-73017DE137BF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5F37B65-89F6-45DE-872F-CB9A90742764}"/>
              </a:ext>
            </a:extLst>
          </p:cNvPr>
          <p:cNvGrpSpPr/>
          <p:nvPr/>
        </p:nvGrpSpPr>
        <p:grpSpPr bwMode="gray">
          <a:xfrm>
            <a:off x="4616450" y="2874585"/>
            <a:ext cx="2959100" cy="65015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2F44F48-6F23-49B1-83C5-A5E77548050D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A78E777-3815-4008-A784-58D1CA2F0476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E0EAB52-8E97-4091-A5D0-951BA928D693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C818C7E-5004-41F0-A94C-2B9EAA78E129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700FE273-4ACC-4B96-AA0F-5167CA356DFC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67879D8-8CAE-48B2-B1A2-0DB9D87146C4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2A00D50-3AAB-4C14-89D1-7EFD22C2103E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7F60A071-A02F-4EAC-820A-1A922C865261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EB14B7-1173-45F1-AE1C-CB3D31BCBF0B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056B4D15-6F22-3B1F-EFAB-B8AADAB2F41F}"/>
              </a:ext>
            </a:extLst>
          </p:cNvPr>
          <p:cNvSpPr txBox="1"/>
          <p:nvPr userDrawn="1"/>
        </p:nvSpPr>
        <p:spPr bwMode="gray">
          <a:xfrm>
            <a:off x="5041224" y="5964894"/>
            <a:ext cx="2109552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de-DE" sz="1600" b="0" i="0" kern="1200" spc="300" dirty="0" err="1">
                <a:solidFill>
                  <a:schemeClr val="accent1"/>
                </a:solidFill>
                <a:latin typeface="Consolas" panose="020B0609020204030204" pitchFamily="49" charset="0"/>
                <a:ea typeface="+mn-ea"/>
                <a:cs typeface="Consolas" panose="020B0609020204030204" pitchFamily="49" charset="0"/>
              </a:rPr>
              <a:t>www.stackit.de</a:t>
            </a:r>
            <a:endParaRPr lang="de-DE" sz="1600" b="0" i="0" kern="1200" spc="300" dirty="0">
              <a:solidFill>
                <a:schemeClr val="accent1"/>
              </a:solidFill>
              <a:latin typeface="Consolas" panose="020B0609020204030204" pitchFamily="49" charset="0"/>
              <a:ea typeface="+mn-ea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4989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F3CF0-AF80-D7AF-AA12-1CDA232E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EFA857-C283-8051-AD63-ADC177DEFD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FE0522-E7E2-7DEE-3CF7-98F304192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789A0C-1FE3-4472-8ED4-D54F292EB867}" type="datetime1">
              <a:rPr lang="de-DE" smtClean="0"/>
              <a:t>30.04.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EF7CDD-C59B-1EE0-45C5-6F55BC693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A4732-935F-87B4-5DB1-591A07D37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7901D-BE43-1F4A-A3BD-510FF353097D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726252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2A3660E1-9D41-498E-B254-BD370DD808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noFill/>
              </a:ln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AE649-6D75-4184-9AAC-C9C8C2427F9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79425" y="225424"/>
            <a:ext cx="11233150" cy="3114755"/>
          </a:xfrm>
        </p:spPr>
        <p:txBody>
          <a:bodyPr anchor="b">
            <a:noAutofit/>
          </a:bodyPr>
          <a:lstStyle>
            <a:lvl1pPr algn="l">
              <a:defRPr sz="5000">
                <a:solidFill>
                  <a:schemeClr val="accent1"/>
                </a:solidFill>
                <a:latin typeface="OCR A Tribute Pro" panose="020F0504020204070C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A80CA76-0266-43D6-887E-B8B018C237D7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79425" y="3602117"/>
            <a:ext cx="11233150" cy="760333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  <a:latin typeface="+mn-lt"/>
              </a:defRPr>
            </a:lvl1pPr>
            <a:lvl2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1800" spc="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906FE4E-3445-4CAE-9336-985BCCCCE80F}"/>
              </a:ext>
            </a:extLst>
          </p:cNvPr>
          <p:cNvSpPr/>
          <p:nvPr/>
        </p:nvSpPr>
        <p:spPr bwMode="gray">
          <a:xfrm>
            <a:off x="479425" y="3430217"/>
            <a:ext cx="5461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00381A3-6A0D-4EB8-A0A6-0F8DE482B524}"/>
              </a:ext>
            </a:extLst>
          </p:cNvPr>
          <p:cNvGrpSpPr/>
          <p:nvPr/>
        </p:nvGrpSpPr>
        <p:grpSpPr bwMode="gray">
          <a:xfrm>
            <a:off x="8264525" y="5419212"/>
            <a:ext cx="2959100" cy="65015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934A5BB0-DD7D-4E22-843C-0146FCA54D5F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3907415-01EB-457F-AB99-16F314ABBF92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CC88B33-46B2-49CA-9C6B-B18DF55E24A2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C4F4F4C-B5BE-45DB-B098-E685BBC7928F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DF3511DC-8379-4267-9446-937BF8F536B1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D857FB1D-939C-4E60-807E-4B9C37ADD159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28D0C2B2-BB1A-4C82-827A-396ED0F0BB92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9F28C477-2B26-4E6A-B8B6-9A7831396247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5DF43928-2FAD-44A8-BE31-989E14FB38FE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A30C918A-341E-4A67-8689-93E7B7E5B9CA}"/>
              </a:ext>
            </a:extLst>
          </p:cNvPr>
          <p:cNvSpPr/>
          <p:nvPr/>
        </p:nvSpPr>
        <p:spPr bwMode="gray">
          <a:xfrm>
            <a:off x="0" y="676656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438476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B3B1C143-F0FC-4F8E-86C5-A257210BC65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noFill/>
              </a:ln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B499118-02BD-440C-94DF-131DDC63BA3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16613" y="2097088"/>
            <a:ext cx="6275387" cy="4068762"/>
          </a:xfrm>
          <a:noFill/>
        </p:spPr>
        <p:txBody>
          <a:bodyPr bIns="72000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2097088"/>
            <a:ext cx="8349190" cy="4068762"/>
          </a:xfrm>
          <a:gradFill flip="none" rotWithShape="1">
            <a:gsLst>
              <a:gs pos="67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</p:spPr>
        <p:txBody>
          <a:bodyPr rIns="1080000" numCol="1" spcCol="0"/>
          <a:lstStyle>
            <a:lvl1pPr marL="360000" indent="-360000"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400">
                <a:solidFill>
                  <a:schemeClr val="bg1"/>
                </a:solidFill>
                <a:latin typeface="+mj-lt"/>
              </a:defRPr>
            </a:lvl1pPr>
            <a:lvl2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2pPr>
            <a:lvl3pPr marL="108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3pPr>
            <a:lvl4pPr marL="144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4pPr>
            <a:lvl5pPr marL="180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5pPr>
            <a:lvl6pPr marL="216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6pPr>
            <a:lvl7pPr marL="25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7pPr>
            <a:lvl8pPr marL="288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8pPr>
            <a:lvl9pPr marL="324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BD5C44D3-C0D9-4982-8027-FF0172B4564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79425" y="1540551"/>
            <a:ext cx="11233150" cy="350758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bg1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/>
              <a:t>Master-Untertitelformat bearbeit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2D4898A-1184-4872-B38C-7284C1BD8838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CB56D17-DE09-4969-99DB-786CE6544BA5}"/>
              </a:ext>
            </a:extLst>
          </p:cNvPr>
          <p:cNvSpPr/>
          <p:nvPr/>
        </p:nvSpPr>
        <p:spPr bwMode="gray">
          <a:xfrm>
            <a:off x="478325" y="1407119"/>
            <a:ext cx="547200" cy="4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err="1"/>
          </a:p>
        </p:txBody>
      </p:sp>
    </p:spTree>
    <p:extLst>
      <p:ext uri="{BB962C8B-B14F-4D97-AF65-F5344CB8AC3E}">
        <p14:creationId xmlns:p14="http://schemas.microsoft.com/office/powerpoint/2010/main" val="4009458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 mit Bild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2D4898A-1184-4872-B38C-7284C1BD8838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D53E4DA-8AE6-42EF-9C64-90D07909796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bg1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097BF5F8-203D-83FF-6F2D-984C129A54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3" name="Bildplatzhalter 9">
            <a:extLst>
              <a:ext uri="{FF2B5EF4-FFF2-40B4-BE49-F238E27FC236}">
                <a16:creationId xmlns:a16="http://schemas.microsoft.com/office/drawing/2014/main" id="{4C76B413-AE97-BFCF-B073-1C96BB42CD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916613" y="2097088"/>
            <a:ext cx="6275387" cy="4068762"/>
          </a:xfrm>
          <a:noFill/>
        </p:spPr>
        <p:txBody>
          <a:bodyPr bIns="72000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2097088"/>
            <a:ext cx="8296276" cy="4068762"/>
          </a:xfrm>
          <a:gradFill flip="none" rotWithShape="1">
            <a:gsLst>
              <a:gs pos="67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</p:spPr>
        <p:txBody>
          <a:bodyPr rIns="1080000" numCol="1" spcCol="0"/>
          <a:lstStyle>
            <a:lvl1pPr marL="457200" indent="-457200"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+mj-lt"/>
              <a:buAutoNum type="arabicPeriod"/>
              <a:defRPr sz="2400">
                <a:solidFill>
                  <a:schemeClr val="bg1"/>
                </a:solidFill>
                <a:latin typeface="+mj-lt"/>
              </a:defRPr>
            </a:lvl1pPr>
            <a:lvl2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2pPr>
            <a:lvl3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3pPr>
            <a:lvl4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4pPr>
            <a:lvl5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5pPr>
            <a:lvl6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6pPr>
            <a:lvl7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7pPr>
            <a:lvl8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8pPr>
            <a:lvl9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9087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 mit Bild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225425"/>
            <a:ext cx="5437187" cy="11065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D53E4DA-8AE6-42EF-9C64-90D07909796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bg1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097BF5F8-203D-83FF-6F2D-984C129A54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5437188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4" name="Bildplatzhalter 30">
            <a:extLst>
              <a:ext uri="{FF2B5EF4-FFF2-40B4-BE49-F238E27FC236}">
                <a16:creationId xmlns:a16="http://schemas.microsoft.com/office/drawing/2014/main" id="{A3143190-A99A-BE49-C612-2BA1AADF305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6275389" y="91440"/>
            <a:ext cx="5916611" cy="6766560"/>
          </a:xfrm>
          <a:custGeom>
            <a:avLst/>
            <a:gdLst>
              <a:gd name="connsiteX0" fmla="*/ 0 w 10868025"/>
              <a:gd name="connsiteY0" fmla="*/ 0 h 6858000"/>
              <a:gd name="connsiteX1" fmla="*/ 10868025 w 10868025"/>
              <a:gd name="connsiteY1" fmla="*/ 0 h 6858000"/>
              <a:gd name="connsiteX2" fmla="*/ 10868025 w 10868025"/>
              <a:gd name="connsiteY2" fmla="*/ 6858000 h 6858000"/>
              <a:gd name="connsiteX3" fmla="*/ 0 w 108680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68025" h="6858000">
                <a:moveTo>
                  <a:pt x="0" y="0"/>
                </a:moveTo>
                <a:lnTo>
                  <a:pt x="10868025" y="0"/>
                </a:lnTo>
                <a:lnTo>
                  <a:pt x="1086802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68000" bIns="720000" anchor="ctr" anchorCtr="0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4" y="2097088"/>
            <a:ext cx="5437189" cy="4068762"/>
          </a:xfrm>
          <a:noFill/>
        </p:spPr>
        <p:txBody>
          <a:bodyPr rIns="0" numCol="1" spcCol="0"/>
          <a:lstStyle>
            <a:lvl1pPr marL="457200" indent="-457200"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+mj-lt"/>
              <a:buAutoNum type="arabicPeriod"/>
              <a:defRPr sz="2400">
                <a:solidFill>
                  <a:schemeClr val="bg1"/>
                </a:solidFill>
                <a:latin typeface="+mj-lt"/>
              </a:defRPr>
            </a:lvl1pPr>
            <a:lvl2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2pPr>
            <a:lvl3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3pPr>
            <a:lvl4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4pPr>
            <a:lvl5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5pPr>
            <a:lvl6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6pPr>
            <a:lvl7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7pPr>
            <a:lvl8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8pPr>
            <a:lvl9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2D4898A-1184-4872-B38C-7284C1BD8838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0955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3" y="2097088"/>
            <a:ext cx="11233151" cy="4068762"/>
          </a:xfrm>
          <a:gradFill flip="none" rotWithShape="1">
            <a:gsLst>
              <a:gs pos="67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</p:spPr>
        <p:txBody>
          <a:bodyPr rIns="0" numCol="2" spcCol="1440000"/>
          <a:lstStyle>
            <a:lvl1pPr marL="534988" indent="-534988"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+mj-lt"/>
              <a:buAutoNum type="arabicPeriod"/>
              <a:defRPr sz="2400">
                <a:solidFill>
                  <a:schemeClr val="bg1"/>
                </a:solidFill>
                <a:latin typeface="+mn-lt"/>
              </a:defRPr>
            </a:lvl1pPr>
            <a:lvl2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2pPr>
            <a:lvl3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3pPr>
            <a:lvl4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4pPr>
            <a:lvl5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000">
                <a:solidFill>
                  <a:schemeClr val="bg1"/>
                </a:solidFill>
              </a:defRPr>
            </a:lvl5pPr>
            <a:lvl6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6pPr>
            <a:lvl7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7pPr>
            <a:lvl8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8pPr>
            <a:lvl9pPr marL="720000" indent="-360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2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2D4898A-1184-4872-B38C-7284C1BD8838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D53E4DA-8AE6-42EF-9C64-90D07909796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bg1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097BF5F8-203D-83FF-6F2D-984C129A54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4" y="1540551"/>
            <a:ext cx="11233149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51766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CAE649-6D75-4184-9AAC-C9C8C2427F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25424"/>
            <a:ext cx="11233150" cy="3114755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5E24FD43-DBCA-4FE2-BE37-5F264A72FE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3429136"/>
            <a:ext cx="547200" cy="46800"/>
          </a:xfrm>
          <a:solidFill>
            <a:schemeClr val="bg1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67D8B36F-BE7D-F334-921E-E9CAEE763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3602117"/>
            <a:ext cx="11233150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83152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D520917A-61FD-4667-BCC5-6F6FD199987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1323975" y="0"/>
            <a:ext cx="10868025" cy="6858000"/>
          </a:xfrm>
          <a:custGeom>
            <a:avLst/>
            <a:gdLst>
              <a:gd name="connsiteX0" fmla="*/ 0 w 10868025"/>
              <a:gd name="connsiteY0" fmla="*/ 0 h 6858000"/>
              <a:gd name="connsiteX1" fmla="*/ 10868025 w 10868025"/>
              <a:gd name="connsiteY1" fmla="*/ 0 h 6858000"/>
              <a:gd name="connsiteX2" fmla="*/ 10868025 w 10868025"/>
              <a:gd name="connsiteY2" fmla="*/ 6858000 h 6858000"/>
              <a:gd name="connsiteX3" fmla="*/ 0 w 108680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68025" h="6858000">
                <a:moveTo>
                  <a:pt x="0" y="0"/>
                </a:moveTo>
                <a:lnTo>
                  <a:pt x="10868025" y="0"/>
                </a:lnTo>
                <a:lnTo>
                  <a:pt x="108680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rIns="468000" bIns="720000" anchor="ctr" anchorCtr="0">
            <a:noAutofit/>
          </a:bodyPr>
          <a:lstStyle>
            <a:lvl1pPr algn="r"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E7A93F72-662D-4D6D-8AA9-D5FAE16CCE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0" y="0"/>
            <a:ext cx="6619875" cy="6858000"/>
          </a:xfrm>
          <a:custGeom>
            <a:avLst/>
            <a:gdLst>
              <a:gd name="connsiteX0" fmla="*/ 0 w 6483825"/>
              <a:gd name="connsiteY0" fmla="*/ 0 h 6858000"/>
              <a:gd name="connsiteX1" fmla="*/ 6483825 w 6483825"/>
              <a:gd name="connsiteY1" fmla="*/ 0 h 6858000"/>
              <a:gd name="connsiteX2" fmla="*/ 6483825 w 6483825"/>
              <a:gd name="connsiteY2" fmla="*/ 6310265 h 6858000"/>
              <a:gd name="connsiteX3" fmla="*/ 6483825 w 6483825"/>
              <a:gd name="connsiteY3" fmla="*/ 6491643 h 6858000"/>
              <a:gd name="connsiteX4" fmla="*/ 6483825 w 6483825"/>
              <a:gd name="connsiteY4" fmla="*/ 6586210 h 6858000"/>
              <a:gd name="connsiteX5" fmla="*/ 6483825 w 6483825"/>
              <a:gd name="connsiteY5" fmla="*/ 6762939 h 6858000"/>
              <a:gd name="connsiteX6" fmla="*/ 6483825 w 6483825"/>
              <a:gd name="connsiteY6" fmla="*/ 6858000 h 6858000"/>
              <a:gd name="connsiteX7" fmla="*/ 0 w 648382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83825" h="6858000">
                <a:moveTo>
                  <a:pt x="0" y="0"/>
                </a:moveTo>
                <a:lnTo>
                  <a:pt x="6483825" y="0"/>
                </a:lnTo>
                <a:lnTo>
                  <a:pt x="6483825" y="6310265"/>
                </a:lnTo>
                <a:lnTo>
                  <a:pt x="6483825" y="6491643"/>
                </a:lnTo>
                <a:lnTo>
                  <a:pt x="6483825" y="6586210"/>
                </a:lnTo>
                <a:lnTo>
                  <a:pt x="6483825" y="6762939"/>
                </a:lnTo>
                <a:lnTo>
                  <a:pt x="6483825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48000">
                <a:schemeClr val="accent2"/>
              </a:gs>
              <a:gs pos="75000">
                <a:schemeClr val="accent2">
                  <a:alpha val="7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  <a:lvl6pPr marL="0" indent="0">
              <a:spcAft>
                <a:spcPts val="0"/>
              </a:spcAft>
              <a:buNone/>
              <a:defRPr sz="100">
                <a:noFill/>
              </a:defRPr>
            </a:lvl6pPr>
            <a:lvl7pPr marL="0" indent="0">
              <a:spcAft>
                <a:spcPts val="0"/>
              </a:spcAft>
              <a:buNone/>
              <a:defRPr sz="100">
                <a:noFill/>
              </a:defRPr>
            </a:lvl7pPr>
            <a:lvl8pPr marL="0" indent="0">
              <a:spcAft>
                <a:spcPts val="0"/>
              </a:spcAft>
              <a:buNone/>
              <a:defRPr sz="100">
                <a:noFill/>
              </a:defRPr>
            </a:lvl8pPr>
            <a:lvl9pPr marL="0" indent="0">
              <a:spcAft>
                <a:spcPts val="0"/>
              </a:spcAft>
              <a:buNone/>
              <a:defRPr sz="100">
                <a:noFill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AE649-6D75-4184-9AAC-C9C8C2427F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25424"/>
            <a:ext cx="5437188" cy="3114755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5E24FD43-DBCA-4FE2-BE37-5F264A72FE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3429136"/>
            <a:ext cx="547200" cy="46800"/>
          </a:xfrm>
          <a:solidFill>
            <a:schemeClr val="bg1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8E1F2F1C-3BD9-D979-9F73-6175D3AAE7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3602117"/>
            <a:ext cx="5437188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17536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CAE649-6D75-4184-9AAC-C9C8C2427F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3964173"/>
            <a:ext cx="11233150" cy="1545832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5E24FD43-DBCA-4FE2-BE37-5F264A72FE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5598962"/>
            <a:ext cx="547200" cy="46800"/>
          </a:xfrm>
          <a:solidFill>
            <a:schemeClr val="bg1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67D8B36F-BE7D-F334-921E-E9CAEE763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5771943"/>
            <a:ext cx="11233150" cy="246221"/>
          </a:xfrm>
        </p:spPr>
        <p:txBody>
          <a:bodyPr wrap="square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FE860F4-E0B2-5620-27EE-D8B81B3A02EA}"/>
              </a:ext>
            </a:extLst>
          </p:cNvPr>
          <p:cNvSpPr/>
          <p:nvPr userDrawn="1"/>
        </p:nvSpPr>
        <p:spPr bwMode="gray">
          <a:xfrm>
            <a:off x="1406993" y="354756"/>
            <a:ext cx="9478224" cy="3437925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C117DDE-2693-C342-31F1-A41642F822B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78082" y="225424"/>
            <a:ext cx="9478224" cy="3437925"/>
          </a:xfrm>
          <a:solidFill>
            <a:schemeClr val="bg1"/>
          </a:solidFill>
        </p:spPr>
        <p:txBody>
          <a:bodyPr lIns="108000" tIns="108000" r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9131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ED4789-8754-4D27-9BB7-55340F126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Titel hinzufügen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E3B2385-48A8-4075-A814-7A6D026D1B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4" y="2097089"/>
            <a:ext cx="11233149" cy="4068762"/>
          </a:xfrm>
        </p:spPr>
        <p:txBody>
          <a:bodyPr/>
          <a:lstStyle>
            <a:lvl3pPr marL="179388" indent="-176213">
              <a:buClr>
                <a:schemeClr val="accent2"/>
              </a:buClr>
              <a:buSzPct val="100000"/>
              <a:buFont typeface="Wingdings" pitchFamily="2" charset="2"/>
              <a:buChar char="§"/>
              <a:tabLst/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54EE2D-F733-453A-B190-0DB93DFB6BA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6872921-777C-49CD-A214-274FE80ECF53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22FA97-0D2D-4889-9309-7EACA5D7B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1171575" y="6493487"/>
            <a:ext cx="3529013" cy="107722"/>
          </a:xfrm>
        </p:spPr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4C32CD-E555-4849-9FF1-78A990556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4951519E-63D1-4D1D-BDB1-C3C06B034E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325" y="1407119"/>
            <a:ext cx="547200" cy="46800"/>
          </a:xfrm>
          <a:solidFill>
            <a:schemeClr val="accent2"/>
          </a:solidFill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spcAft>
                <a:spcPts val="0"/>
              </a:spcAft>
              <a:buNone/>
              <a:defRPr sz="100">
                <a:noFill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19CE60DC-20A4-CFFD-3913-CF2FE762D9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1540551"/>
            <a:ext cx="11233150" cy="246221"/>
          </a:xfrm>
        </p:spPr>
        <p:txBody>
          <a:bodyPr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i="0" spc="300">
                <a:solidFill>
                  <a:schemeClr val="accent2"/>
                </a:solidFill>
                <a:latin typeface="Consolas" panose="020B0609020204030204" pitchFamily="49" charset="0"/>
              </a:defRPr>
            </a:lvl1pPr>
            <a:lvl2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indent="0" algn="l">
              <a:spcAft>
                <a:spcPts val="0"/>
              </a:spcAft>
              <a:buNone/>
              <a:defRPr sz="1200" spc="3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pPr lvl="0"/>
            <a:r>
              <a:rPr lang="de-DE" dirty="0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569587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9C5A834-14F9-40AB-B990-AD4F38E9A5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225425"/>
            <a:ext cx="11233150" cy="11065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 hinzufüg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A739EE-D0ED-4973-AFBE-95569828B14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2097088"/>
            <a:ext cx="11233150" cy="40687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Text durch Klicken bearbeiten. Nutz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DD8BC1D-4B5D-4E82-80B2-A8AC0263DF4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79425" y="6487948"/>
            <a:ext cx="546100" cy="1188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lnSpc>
                <a:spcPct val="100000"/>
              </a:lnSpc>
              <a:defRPr sz="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l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fld id="{A68A8AA6-AFBF-4303-B302-D7AED4DC6CB0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2B0522-230A-4FD7-8EDD-EAC0E78F4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71575" y="6485793"/>
            <a:ext cx="3529013" cy="123111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lnSpc>
                <a:spcPct val="100000"/>
              </a:lnSpc>
              <a:defRPr sz="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>
              <a:defRPr sz="7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529B0A-A1EC-469D-96C0-EBC1DDCAA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09338" y="6487948"/>
            <a:ext cx="503237" cy="1188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lnSpc>
                <a:spcPct val="100000"/>
              </a:lnSpc>
              <a:defRPr sz="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2pPr>
            <a:lvl3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3pPr>
            <a:lvl4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4pPr>
            <a:lvl5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5pPr>
            <a:lvl6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6pPr>
            <a:lvl7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7pPr>
            <a:lvl8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8pPr>
            <a:lvl9pPr marL="0" algn="r">
              <a:defRPr sz="1000">
                <a:solidFill>
                  <a:schemeClr val="accent2"/>
                </a:solidFill>
                <a:latin typeface="OCR A Tribute Pro" panose="020F0504020204070C04" pitchFamily="34" charset="0"/>
              </a:defRPr>
            </a:lvl9pPr>
          </a:lstStyle>
          <a:p>
            <a:fld id="{CD20402E-4056-4001-89CF-0B4802FF686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E291F7C-B9FD-4976-BB38-BE45F50DEA8A}"/>
              </a:ext>
            </a:extLst>
          </p:cNvPr>
          <p:cNvSpPr/>
          <p:nvPr/>
        </p:nvSpPr>
        <p:spPr bwMode="gray">
          <a:xfrm>
            <a:off x="0" y="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7F5FC086-0D1B-4D31-8B1D-56F7E562CA03}"/>
              </a:ext>
            </a:extLst>
          </p:cNvPr>
          <p:cNvGrpSpPr/>
          <p:nvPr/>
        </p:nvGrpSpPr>
        <p:grpSpPr bwMode="gray">
          <a:xfrm>
            <a:off x="5584825" y="6397076"/>
            <a:ext cx="1022350" cy="224624"/>
            <a:chOff x="10416540" y="264908"/>
            <a:chExt cx="1296035" cy="284756"/>
          </a:xfrm>
          <a:solidFill>
            <a:schemeClr val="accent2"/>
          </a:solidFill>
        </p:grpSpPr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A6C131DC-CF1F-4EB7-ACB2-FB1F47BA4988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DB584797-66DA-4E3A-9714-6C5943DB09F2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EDB1DDDB-BBC1-4274-A071-4B0DD8F4DD1C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D055498E-58AD-4582-AC30-FD17AD571C6A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CE60098C-974A-4C76-84D3-9DE657EF99B2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06829967-307D-43C5-84F9-94EFBF2D7C1E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9F1698D5-ABFE-4D12-B485-185E4FD68A38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4D620704-C031-4F2B-B8CC-E1974B621EA2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580FAABF-0BB4-4710-99E7-04C5432A3FE5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767626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9" r:id="rId2"/>
    <p:sldLayoutId id="2147483712" r:id="rId3"/>
    <p:sldLayoutId id="2147483713" r:id="rId4"/>
    <p:sldLayoutId id="2147483700" r:id="rId5"/>
    <p:sldLayoutId id="2147483691" r:id="rId6"/>
    <p:sldLayoutId id="2147483692" r:id="rId7"/>
    <p:sldLayoutId id="2147483708" r:id="rId8"/>
    <p:sldLayoutId id="2147483693" r:id="rId9"/>
    <p:sldLayoutId id="2147483694" r:id="rId10"/>
    <p:sldLayoutId id="2147483701" r:id="rId11"/>
    <p:sldLayoutId id="2147483696" r:id="rId12"/>
    <p:sldLayoutId id="2147483697" r:id="rId13"/>
    <p:sldLayoutId id="2147483707" r:id="rId14"/>
    <p:sldLayoutId id="2147483695" r:id="rId15"/>
    <p:sldLayoutId id="2147483702" r:id="rId16"/>
    <p:sldLayoutId id="2147483703" r:id="rId17"/>
    <p:sldLayoutId id="2147483704" r:id="rId18"/>
    <p:sldLayoutId id="2147483705" r:id="rId19"/>
    <p:sldLayoutId id="2147483698" r:id="rId20"/>
    <p:sldLayoutId id="2147483711" r:id="rId21"/>
    <p:sldLayoutId id="2147483706" r:id="rId22"/>
    <p:sldLayoutId id="2147483714" r:id="rId23"/>
    <p:sldLayoutId id="2147483715" r:id="rId24"/>
    <p:sldLayoutId id="2147483716" r:id="rId25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None/>
        <a:defRPr sz="1400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3840" userDrawn="1">
          <p15:clr>
            <a:srgbClr val="F26B43"/>
          </p15:clr>
        </p15:guide>
        <p15:guide id="30" orient="horz" pos="2160" userDrawn="1">
          <p15:clr>
            <a:srgbClr val="F26B43"/>
          </p15:clr>
        </p15:guide>
        <p15:guide id="31" pos="302" userDrawn="1">
          <p15:clr>
            <a:srgbClr val="F26B43"/>
          </p15:clr>
        </p15:guide>
        <p15:guide id="32" orient="horz" pos="142" userDrawn="1">
          <p15:clr>
            <a:srgbClr val="F26B43"/>
          </p15:clr>
        </p15:guide>
        <p15:guide id="33" orient="horz" pos="3884" userDrawn="1">
          <p15:clr>
            <a:srgbClr val="F26B43"/>
          </p15:clr>
        </p15:guide>
        <p15:guide id="34" pos="7378" userDrawn="1">
          <p15:clr>
            <a:srgbClr val="F26B43"/>
          </p15:clr>
        </p15:guide>
        <p15:guide id="35" orient="horz" pos="1321" userDrawn="1">
          <p15:clr>
            <a:srgbClr val="F26B43"/>
          </p15:clr>
        </p15:guide>
        <p15:guide id="36" pos="3727" userDrawn="1">
          <p15:clr>
            <a:srgbClr val="F26B43"/>
          </p15:clr>
        </p15:guide>
        <p15:guide id="37" pos="3953" userDrawn="1">
          <p15:clr>
            <a:srgbClr val="F26B43"/>
          </p15:clr>
        </p15:guide>
        <p15:guide id="38" pos="2150" userDrawn="1">
          <p15:clr>
            <a:srgbClr val="FBAE40"/>
          </p15:clr>
        </p15:guide>
        <p15:guide id="39" pos="1878" userDrawn="1">
          <p15:clr>
            <a:srgbClr val="FBAE40"/>
          </p15:clr>
        </p15:guide>
        <p15:guide id="40" pos="2508" userDrawn="1">
          <p15:clr>
            <a:srgbClr val="FBAE40"/>
          </p15:clr>
        </p15:guide>
        <p15:guide id="41" pos="2774" userDrawn="1">
          <p15:clr>
            <a:srgbClr val="FBAE40"/>
          </p15:clr>
        </p15:guide>
        <p15:guide id="42" pos="4900" userDrawn="1">
          <p15:clr>
            <a:srgbClr val="FBAE40"/>
          </p15:clr>
        </p15:guide>
        <p15:guide id="43" pos="5528" userDrawn="1">
          <p15:clr>
            <a:srgbClr val="FBAE40"/>
          </p15:clr>
        </p15:guide>
        <p15:guide id="44" pos="5800" userDrawn="1">
          <p15:clr>
            <a:srgbClr val="FBAE40"/>
          </p15:clr>
        </p15:guide>
        <p15:guide id="45" pos="516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FCBCDCA-AF06-4094-B14A-94C8815199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18" progId="TCLayout.ActiveDocument.1">
                  <p:embed/>
                </p:oleObj>
              </mc:Choice>
              <mc:Fallback>
                <p:oleObj name="think-cell Folie" r:id="rId4" imgW="353" imgH="31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FCBCDCA-AF06-4094-B14A-94C881519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57AE0C5D-B8C4-49F5-AF29-64D9C83A64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9798" y="2613"/>
            <a:ext cx="10282202" cy="6855387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B0E84D05-A341-4638-AFD2-82A66CEA5439}"/>
              </a:ext>
            </a:extLst>
          </p:cNvPr>
          <p:cNvSpPr/>
          <p:nvPr/>
        </p:nvSpPr>
        <p:spPr bwMode="gray">
          <a:xfrm>
            <a:off x="0" y="0"/>
            <a:ext cx="9026064" cy="6858000"/>
          </a:xfrm>
          <a:prstGeom prst="rect">
            <a:avLst/>
          </a:prstGeom>
          <a:gradFill>
            <a:gsLst>
              <a:gs pos="48000">
                <a:schemeClr val="accent2"/>
              </a:gs>
              <a:gs pos="75000">
                <a:schemeClr val="accent2">
                  <a:alpha val="7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seo Sans 30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D6279CF-BAA0-46D9-8E4B-BB2E8CC296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225424"/>
            <a:ext cx="11322050" cy="3114755"/>
          </a:xfrm>
        </p:spPr>
        <p:txBody>
          <a:bodyPr vert="horz"/>
          <a:lstStyle/>
          <a:p>
            <a:r>
              <a:rPr lang="en-DE" sz="5400" dirty="0"/>
              <a:t>Pg_largeobject,</a:t>
            </a:r>
            <a:br>
              <a:rPr lang="en-DE" sz="5400" dirty="0"/>
            </a:br>
            <a:r>
              <a:rPr lang="en-DE" sz="5400" dirty="0"/>
              <a:t>when vacuum is</a:t>
            </a:r>
            <a:br>
              <a:rPr lang="de-DE" sz="5400" dirty="0"/>
            </a:br>
            <a:r>
              <a:rPr lang="en-DE" sz="5400" dirty="0"/>
              <a:t>not enough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8919F7B5-435B-4D15-A68C-52F2CADAD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3599113"/>
            <a:ext cx="11233150" cy="1020078"/>
          </a:xfrm>
        </p:spPr>
        <p:txBody>
          <a:bodyPr/>
          <a:lstStyle/>
          <a:p>
            <a:r>
              <a:rPr lang="de-DE" sz="1600" dirty="0"/>
              <a:t>PostgreSQL Database Conference </a:t>
            </a:r>
            <a:r>
              <a:rPr lang="de-DE" sz="1600" dirty="0" err="1"/>
              <a:t>Belgium</a:t>
            </a:r>
            <a:endParaRPr lang="de-DE" sz="1600" dirty="0"/>
          </a:p>
          <a:p>
            <a:endParaRPr lang="de-DE" sz="1600" dirty="0"/>
          </a:p>
          <a:p>
            <a:endParaRPr lang="de-DE" sz="1600" dirty="0"/>
          </a:p>
          <a:p>
            <a:r>
              <a:rPr lang="de-DE" sz="1600" dirty="0"/>
              <a:t>Priyanka Chatterjee</a:t>
            </a:r>
          </a:p>
          <a:p>
            <a:r>
              <a:rPr lang="de-DE" sz="1600" dirty="0"/>
              <a:t>Schwarz IT KG - STACKI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AFA8E7E-6565-4F08-BDA9-5FA21CA5E6DD}"/>
              </a:ext>
            </a:extLst>
          </p:cNvPr>
          <p:cNvSpPr/>
          <p:nvPr/>
        </p:nvSpPr>
        <p:spPr bwMode="gray">
          <a:xfrm>
            <a:off x="479425" y="3430217"/>
            <a:ext cx="5461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seo Sans 300"/>
              <a:ea typeface="+mn-ea"/>
              <a:cs typeface="+mn-cs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8895834-755A-4E8E-919F-FCE904BA045C}"/>
              </a:ext>
            </a:extLst>
          </p:cNvPr>
          <p:cNvGrpSpPr/>
          <p:nvPr/>
        </p:nvGrpSpPr>
        <p:grpSpPr bwMode="gray">
          <a:xfrm>
            <a:off x="8264525" y="5419212"/>
            <a:ext cx="2959100" cy="65015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C374698-5FB7-438E-821F-E53EB302DC79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F1836F0B-EA7A-4E4A-8C4F-64BBAA9BB788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917B934-8956-4C5E-B9E8-BFCBC584C5DD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9B8433DD-0DA1-4C10-8978-5FA78FCBB599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B359F589-FA7B-4DF4-B391-40FFD5563F79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77BF2470-9D1A-4F9F-A06F-2EB2D1D78E08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AA15786-2101-4B70-B9E6-DBF188E85B17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79184F6-390D-4194-8EB2-593925C1420B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5719FF8-56C7-463D-85E0-1CDC9539CDE1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484847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C59ACD15-A78D-4A25-AAC8-5B3F13D6B5DC}"/>
              </a:ext>
            </a:extLst>
          </p:cNvPr>
          <p:cNvSpPr/>
          <p:nvPr/>
        </p:nvSpPr>
        <p:spPr bwMode="gray">
          <a:xfrm>
            <a:off x="0" y="6766560"/>
            <a:ext cx="12192000" cy="9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seo Sans 30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288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089FED-D87B-CFFF-062C-59BEA8734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35134"/>
            <a:ext cx="11233150" cy="1523589"/>
          </a:xfrm>
        </p:spPr>
        <p:txBody>
          <a:bodyPr>
            <a:normAutofit fontScale="90000"/>
          </a:bodyPr>
          <a:lstStyle/>
          <a:p>
            <a:r>
              <a:rPr lang="en-DE" dirty="0"/>
              <a:t>Size:</a:t>
            </a:r>
            <a:br>
              <a:rPr lang="de-DE" dirty="0"/>
            </a:br>
            <a:r>
              <a:rPr lang="en-GB" dirty="0"/>
              <a:t>2.542.654</a:t>
            </a:r>
            <a:br>
              <a:rPr lang="en-GB" dirty="0"/>
            </a:br>
            <a:r>
              <a:rPr lang="en-GB" dirty="0"/>
              <a:t>bytes 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CC85AF-5CDB-9332-4C95-BEE3A5EB7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5F40B-3277-4959-9990-EC2C2B52E712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FEA5FA-CDF1-F588-1BB2-84D582C31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36091B6-FED8-224C-46A9-A7150438C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8" name="westpark_munich.mov">
            <a:hlinkClick r:id="" action="ppaction://media"/>
            <a:extLst>
              <a:ext uri="{FF2B5EF4-FFF2-40B4-BE49-F238E27FC236}">
                <a16:creationId xmlns:a16="http://schemas.microsoft.com/office/drawing/2014/main" id="{3ACB05A5-879F-5DBC-579E-0D34A346698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 bwMode="gray">
          <a:xfrm>
            <a:off x="4244076" y="167656"/>
            <a:ext cx="4018574" cy="650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52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73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100000">
                <p:cTn id="1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941C5-636E-7B02-CEAE-E10B76CA3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0515600" cy="592818"/>
          </a:xfrm>
        </p:spPr>
        <p:txBody>
          <a:bodyPr>
            <a:normAutofit/>
          </a:bodyPr>
          <a:lstStyle/>
          <a:p>
            <a:r>
              <a:rPr lang="en-GB" sz="3200" dirty="0"/>
              <a:t>Importing the file as a </a:t>
            </a:r>
            <a:r>
              <a:rPr lang="en-GB" sz="3200" dirty="0" err="1"/>
              <a:t>largeobject</a:t>
            </a:r>
            <a:r>
              <a:rPr lang="en-GB" sz="3200" dirty="0"/>
              <a:t> in PG</a:t>
            </a:r>
            <a:endParaRPr lang="en-DE" sz="3200" dirty="0"/>
          </a:p>
        </p:txBody>
      </p:sp>
      <p:pic>
        <p:nvPicPr>
          <p:cNvPr id="5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CF2DDC66-9D70-AF9A-3A72-20D5B73E5ED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8296" y="957263"/>
            <a:ext cx="11728174" cy="5788094"/>
          </a:xfr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BB87E1-F168-9BE8-4588-8991C7CB5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7901D-BE43-1F4A-A3BD-510FF353097D}" type="slidenum">
              <a:rPr lang="en-DE" smtClean="0"/>
              <a:t>11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11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F038E-2ECD-7152-468E-DE6FCDE5E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1168743" cy="1034144"/>
          </a:xfrm>
        </p:spPr>
        <p:txBody>
          <a:bodyPr>
            <a:normAutofit/>
          </a:bodyPr>
          <a:lstStyle/>
          <a:p>
            <a:r>
              <a:rPr lang="en-GB" sz="3200" dirty="0"/>
              <a:t>Creating a table and using the </a:t>
            </a:r>
            <a:r>
              <a:rPr lang="en-GB" sz="3200" dirty="0" err="1"/>
              <a:t>oid</a:t>
            </a:r>
            <a:r>
              <a:rPr lang="en-GB" sz="3200" dirty="0"/>
              <a:t> from above to refer to the </a:t>
            </a:r>
            <a:r>
              <a:rPr lang="en-GB" sz="3200" dirty="0" err="1"/>
              <a:t>largeobject</a:t>
            </a:r>
            <a:r>
              <a:rPr lang="en-GB" sz="3200" dirty="0"/>
              <a:t>: </a:t>
            </a:r>
            <a:endParaRPr lang="en-DE" sz="3200" dirty="0"/>
          </a:p>
        </p:txBody>
      </p:sp>
      <p:pic>
        <p:nvPicPr>
          <p:cNvPr id="9" name="Content Placeholder 8" descr="A screen shot of a computer&#10;&#10;Description automatically generated">
            <a:extLst>
              <a:ext uri="{FF2B5EF4-FFF2-40B4-BE49-F238E27FC236}">
                <a16:creationId xmlns:a16="http://schemas.microsoft.com/office/drawing/2014/main" id="{B8186A08-4DEC-EF4C-4051-B67120250E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4928" y="1378225"/>
            <a:ext cx="11702143" cy="4943061"/>
          </a:xfr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D03F37-A0ED-07C5-41D5-980C5F0EB2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D29914-4C46-41F3-997D-573EFB62A85E}" type="datetime1">
              <a:rPr lang="de-DE" smtClean="0"/>
              <a:t>30.04.24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F550C4-BA66-B3B6-4CC3-54790F6FC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0E03E5-193D-53C9-1707-CF2992F33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7901D-BE43-1F4A-A3BD-510FF353097D}" type="slidenum">
              <a:rPr lang="en-DE" smtClean="0"/>
              <a:t>1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564185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8906A-68F3-4EC1-62F7-2EF6464A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1075505" cy="840823"/>
          </a:xfrm>
        </p:spPr>
        <p:txBody>
          <a:bodyPr>
            <a:normAutofit/>
          </a:bodyPr>
          <a:lstStyle/>
          <a:p>
            <a:r>
              <a:rPr lang="en-GB" sz="3200" dirty="0"/>
              <a:t>Deleting reference data:</a:t>
            </a:r>
            <a:endParaRPr lang="en-DE" sz="3200" dirty="0"/>
          </a:p>
        </p:txBody>
      </p:sp>
      <p:pic>
        <p:nvPicPr>
          <p:cNvPr id="5" name="Content Placeholder 4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9DB3A7F8-9B1C-CEC5-DF03-A6E92DC716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0994" y="1519882"/>
            <a:ext cx="11530012" cy="4300150"/>
          </a:xfr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9D261F0-9984-7B38-D32B-E3B7D9CB2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82106-42C8-4B81-AAB8-79930A57C726}" type="datetime1">
              <a:rPr lang="de-DE" smtClean="0"/>
              <a:t>30.04.24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F98AA7-CB26-F87F-721A-FAF389F56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en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6D3F573-AE14-4048-D438-9AA191A02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7901D-BE43-1F4A-A3BD-510FF353097D}" type="slidenum">
              <a:rPr lang="en-DE" smtClean="0"/>
              <a:t>1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654611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C0980D-CAAD-944D-164B-28A55F95B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288" y="4585252"/>
            <a:ext cx="10515600" cy="1325563"/>
          </a:xfrm>
        </p:spPr>
        <p:txBody>
          <a:bodyPr/>
          <a:lstStyle/>
          <a:p>
            <a:r>
              <a:rPr lang="en-DE" dirty="0"/>
              <a:t>RUN Vacuumlo REGULARLY!!!!</a:t>
            </a:r>
          </a:p>
        </p:txBody>
      </p:sp>
      <p:pic>
        <p:nvPicPr>
          <p:cNvPr id="5" name="Content Placeholder 4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C50558AA-E138-F573-7878-C5C4A4FA36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1548" y="834887"/>
            <a:ext cx="11608904" cy="3750365"/>
          </a:xfr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D577B7B-9B3B-02E9-B8DD-CFC86768B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4BF88B-FA20-4925-AC5D-22FF03069F42}" type="datetime1">
              <a:rPr lang="de-DE" smtClean="0"/>
              <a:t>30.04.24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FF7C85-9396-6B35-37DB-6CBD713B2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en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DAF71CF-757E-AAC9-26E2-805F6E87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7901D-BE43-1F4A-A3BD-510FF353097D}" type="slidenum">
              <a:rPr lang="en-DE" smtClean="0"/>
              <a:t>1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71660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0DD125-AF81-EA75-BEAB-42FEB2B502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happens when you run Vacuuml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C66D1B-F717-B4D3-AF85-72FF4D570A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Establishes a connection to the database</a:t>
            </a:r>
          </a:p>
          <a:p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 Create and populate LO temp table(</a:t>
            </a:r>
            <a:r>
              <a:rPr lang="en-GB" sz="1800" dirty="0" err="1">
                <a:latin typeface="+mn-lt"/>
              </a:rPr>
              <a:t>vacuum_l</a:t>
            </a:r>
            <a:r>
              <a:rPr lang="en-GB" sz="1800" dirty="0">
                <a:latin typeface="+mn-lt"/>
              </a:rPr>
              <a:t>) by </a:t>
            </a:r>
            <a:r>
              <a:rPr lang="en-GB" sz="1800" dirty="0" err="1">
                <a:latin typeface="+mn-lt"/>
              </a:rPr>
              <a:t>quering</a:t>
            </a:r>
            <a:r>
              <a:rPr lang="en-GB" sz="1800" dirty="0">
                <a:latin typeface="+mn-lt"/>
              </a:rPr>
              <a:t> </a:t>
            </a:r>
            <a:r>
              <a:rPr lang="en-GB" sz="1800" dirty="0" err="1">
                <a:latin typeface="+mn-lt"/>
              </a:rPr>
              <a:t>oid</a:t>
            </a:r>
            <a:r>
              <a:rPr lang="en-GB" sz="1800" dirty="0">
                <a:latin typeface="+mn-lt"/>
              </a:rPr>
              <a:t> from </a:t>
            </a:r>
            <a:r>
              <a:rPr lang="en-GB" sz="1800" dirty="0" err="1">
                <a:latin typeface="+mn-lt"/>
              </a:rPr>
              <a:t>pg_largeobject_metadata</a:t>
            </a:r>
            <a:r>
              <a:rPr lang="en-GB" sz="1800" dirty="0">
                <a:latin typeface="+mn-lt"/>
              </a:rPr>
              <a:t> table</a:t>
            </a:r>
          </a:p>
          <a:p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Runs </a:t>
            </a:r>
            <a:r>
              <a:rPr lang="en-GB" sz="1800" dirty="0" err="1">
                <a:latin typeface="+mn-lt"/>
              </a:rPr>
              <a:t>analyze</a:t>
            </a:r>
            <a:r>
              <a:rPr lang="en-GB" sz="1800" dirty="0">
                <a:latin typeface="+mn-lt"/>
              </a:rPr>
              <a:t> on this temp table to generate decent plans</a:t>
            </a:r>
          </a:p>
          <a:p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Finds any candidate table with type </a:t>
            </a:r>
            <a:r>
              <a:rPr lang="en-GB" sz="1800" dirty="0" err="1">
                <a:latin typeface="+mn-lt"/>
              </a:rPr>
              <a:t>oid</a:t>
            </a:r>
            <a:r>
              <a:rPr lang="en-GB" sz="1800" dirty="0">
                <a:latin typeface="+mn-lt"/>
              </a:rPr>
              <a:t> </a:t>
            </a:r>
          </a:p>
          <a:p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Any additional entries in </a:t>
            </a:r>
            <a:r>
              <a:rPr lang="en-GB" sz="1800" dirty="0" err="1">
                <a:latin typeface="+mn-lt"/>
              </a:rPr>
              <a:t>vacuum_l</a:t>
            </a:r>
            <a:r>
              <a:rPr lang="en-GB" sz="1800" dirty="0">
                <a:latin typeface="+mn-lt"/>
              </a:rPr>
              <a:t> are orphans and hence will be deleted</a:t>
            </a:r>
            <a:endParaRPr lang="en-DE" sz="1800" dirty="0">
              <a:latin typeface="+mn-lt"/>
            </a:endParaRPr>
          </a:p>
          <a:p>
            <a:endParaRPr lang="de-DE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CC502F-1D7A-0285-9CEB-27F22F7726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1FA992-4213-404B-848B-24C04F99AEA6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D90EBA-6B5A-C6DE-01E1-2528123D1C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8D0929-74A7-4C47-61B2-92ADD61605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1D4793-A803-359A-80B4-1F502F24138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C63C5FD1-304E-4AF0-1FC3-C3B6E5F53E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16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784D22-5AD4-2094-9193-73DC538D4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Lo mod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08A586-025A-1BA3-8F7C-CA4C328CE2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A setup to delete the </a:t>
            </a:r>
            <a:r>
              <a:rPr lang="en-GB" sz="1800" dirty="0" err="1">
                <a:latin typeface="+mn-lt"/>
              </a:rPr>
              <a:t>largeobject</a:t>
            </a:r>
            <a:r>
              <a:rPr lang="en-GB" sz="1800" dirty="0">
                <a:latin typeface="+mn-lt"/>
              </a:rPr>
              <a:t> when the reference object is deleted by including it as a trig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n-lt"/>
              </a:rPr>
              <a:t>This includes a data type </a:t>
            </a:r>
            <a:r>
              <a:rPr lang="en-GB" sz="1800" dirty="0">
                <a:latin typeface="+mn-lt"/>
              </a:rPr>
              <a:t>lo</a:t>
            </a:r>
            <a:r>
              <a:rPr lang="en-GB" sz="1800" b="0" i="0" dirty="0">
                <a:effectLst/>
                <a:latin typeface="+mn-lt"/>
              </a:rPr>
              <a:t> and a trigger </a:t>
            </a:r>
            <a:r>
              <a:rPr lang="en-GB" sz="1800" dirty="0" err="1">
                <a:latin typeface="+mn-lt"/>
              </a:rPr>
              <a:t>lo_manage</a:t>
            </a:r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n-lt"/>
              </a:rPr>
              <a:t>This module is considered “trusted”, that is, it can be installed by non-superusers who have </a:t>
            </a:r>
            <a:r>
              <a:rPr lang="en-GB" sz="1800" dirty="0">
                <a:latin typeface="+mn-lt"/>
              </a:rPr>
              <a:t>CREATE</a:t>
            </a:r>
            <a:r>
              <a:rPr lang="en-GB" sz="1800" b="0" i="0" dirty="0">
                <a:effectLst/>
                <a:latin typeface="+mn-lt"/>
              </a:rPr>
              <a:t> privilege on the current database</a:t>
            </a:r>
            <a:endParaRPr lang="en-DE" sz="1800" dirty="0">
              <a:latin typeface="+mn-lt"/>
            </a:endParaRPr>
          </a:p>
          <a:p>
            <a:endParaRPr lang="en-GB" sz="1800" dirty="0">
              <a:latin typeface="+mn-lt"/>
            </a:endParaRPr>
          </a:p>
          <a:p>
            <a:endParaRPr lang="de-DE" sz="1800" dirty="0">
              <a:latin typeface="+mn-lt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99330-0425-7235-3614-2955CB5CD99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0EDBE5E-1581-41C4-AC2B-1010CD09BA5F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2EC6AC-CE68-CD2F-2C35-52040C9E7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F83071-84ED-4828-8055-A3E9622C28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00A2D3A-557D-2A22-41A7-48C5DA0E68E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6971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screen shot of a computer&#10;&#10;Description automatically generated">
            <a:extLst>
              <a:ext uri="{FF2B5EF4-FFF2-40B4-BE49-F238E27FC236}">
                <a16:creationId xmlns:a16="http://schemas.microsoft.com/office/drawing/2014/main" id="{850C7E13-BC23-0A1C-8CBA-E06C103C75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2718" y="582011"/>
            <a:ext cx="11726563" cy="5583839"/>
          </a:xfr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2AB4CE1-5567-ACDE-85B2-C63C0F3FC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DB767-B772-4E68-A223-2169D22826CD}" type="datetime1">
              <a:rPr lang="de-DE" smtClean="0"/>
              <a:t>30.04.24</a:t>
            </a:fld>
            <a:endParaRPr lang="en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2C9C1F7-F9B9-9261-72B8-FBACBF2EC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en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A523F2-6D40-6AAB-B6C7-DFA582F67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7901D-BE43-1F4A-A3BD-510FF353097D}" type="slidenum">
              <a:rPr lang="en-DE" smtClean="0"/>
              <a:t>1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475590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807231-FD5C-BCD1-E65F-2A4230FAA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Limitations of LO modu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9E740A-283D-D9C1-DEF3-29C8A40AC2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n-lt"/>
              </a:rPr>
              <a:t>Dropping a table will still orphan any objects it contains</a:t>
            </a:r>
          </a:p>
          <a:p>
            <a:r>
              <a:rPr lang="en-GB" sz="1800" dirty="0">
                <a:latin typeface="+mn-lt"/>
              </a:rPr>
              <a:t>     A</a:t>
            </a:r>
            <a:r>
              <a:rPr lang="en-GB" sz="1800" b="0" i="0" dirty="0">
                <a:effectLst/>
                <a:latin typeface="+mn-lt"/>
              </a:rPr>
              <a:t>void this by preceding with </a:t>
            </a:r>
            <a:r>
              <a:rPr lang="en-GB" sz="1800" dirty="0"/>
              <a:t>DELETE FROM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TRUNCATE</a:t>
            </a:r>
            <a:r>
              <a:rPr lang="en-GB" sz="1800" b="0" i="0" dirty="0">
                <a:effectLst/>
                <a:latin typeface="+mn-lt"/>
              </a:rPr>
              <a:t> has the same haz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0" i="0" dirty="0">
              <a:effectLst/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Any orphans existing outside the column mentioned in the trigger or from before can be cleaned up only by </a:t>
            </a:r>
            <a:r>
              <a:rPr lang="en-GB" sz="1800" dirty="0" err="1"/>
              <a:t>vacuumlo</a:t>
            </a:r>
            <a:endParaRPr lang="en-GB" sz="1800" dirty="0"/>
          </a:p>
          <a:p>
            <a:endParaRPr lang="de-DE" sz="1800" dirty="0">
              <a:latin typeface="+mn-lt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C88CDA-7D68-8DA4-EB9B-C77A42C087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16A227-DEC3-429A-94FA-34B92221DFBD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DF98FEF-E598-4042-577D-703FACCED7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9912B7-EF6C-3102-3D6C-98321C747D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7160713-5584-41D3-1AF5-4FEFEAD889B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A2124D2-9F7A-6FF0-3A10-A141DC8E12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31787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A27605C-AB88-ADBC-C359-73BF64A10DE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252882-EF7B-1498-387B-D17B65F751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Priyanka Chatterjee</a:t>
            </a:r>
          </a:p>
        </p:txBody>
      </p:sp>
    </p:spTree>
    <p:extLst>
      <p:ext uri="{BB962C8B-B14F-4D97-AF65-F5344CB8AC3E}">
        <p14:creationId xmlns:p14="http://schemas.microsoft.com/office/powerpoint/2010/main" val="3146920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E3B7C45-4CFE-4460-B09D-CB3168BC72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18" progId="TCLayout.ActiveDocument.1">
                  <p:embed/>
                </p:oleObj>
              </mc:Choice>
              <mc:Fallback>
                <p:oleObj name="think-cell Folie" r:id="rId4" imgW="353" imgH="31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E3B7C45-4CFE-4460-B09D-CB3168BC7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1ABA5D-7CE6-4E86-8D7A-74A0DB252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1233150" cy="1106575"/>
          </a:xfrm>
        </p:spPr>
        <p:txBody>
          <a:bodyPr vert="horz" anchor="b">
            <a:normAutofit/>
          </a:bodyPr>
          <a:lstStyle/>
          <a:p>
            <a:r>
              <a:rPr lang="de-DE" sz="4000" dirty="0"/>
              <a:t>Priyanka Chatterje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0F8D6B8-A460-4B1C-9FEF-4153756442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2096565"/>
            <a:ext cx="8107098" cy="3863505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n-lt"/>
              </a:rPr>
              <a:t>Database Engineer (2014 - present)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n-lt"/>
              </a:rPr>
              <a:t>Worked in past in companies like Adjust, Groupon, AWS, Subex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n-lt"/>
              </a:rPr>
              <a:t>Currently working for the Postgres Database Product team at STACKIT (Cloud provider from the Schwarz Group)</a:t>
            </a:r>
          </a:p>
        </p:txBody>
      </p:sp>
      <p:sp>
        <p:nvSpPr>
          <p:cNvPr id="12" name="Subtitle 4">
            <a:extLst>
              <a:ext uri="{FF2B5EF4-FFF2-40B4-BE49-F238E27FC236}">
                <a16:creationId xmlns:a16="http://schemas.microsoft.com/office/drawing/2014/main" id="{46E6ABE1-D7E6-467C-BACF-4861B08EB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540551"/>
            <a:ext cx="11233150" cy="350758"/>
          </a:xfrm>
        </p:spPr>
        <p:txBody>
          <a:bodyPr/>
          <a:lstStyle/>
          <a:p>
            <a:r>
              <a:rPr lang="de-DE" sz="1600" dirty="0">
                <a:solidFill>
                  <a:schemeClr val="accent1"/>
                </a:solidFill>
                <a:latin typeface="Consolas" panose="020B0609020204030204" pitchFamily="49" charset="0"/>
              </a:rPr>
              <a:t>PostgreSQL Database Conference </a:t>
            </a:r>
            <a:r>
              <a:rPr lang="de-DE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Belgium</a:t>
            </a:r>
            <a:endParaRPr lang="de-DE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</p:txBody>
      </p:sp>
      <p:sp>
        <p:nvSpPr>
          <p:cNvPr id="25" name="Foliennummernplatzhalter 4">
            <a:extLst>
              <a:ext uri="{FF2B5EF4-FFF2-40B4-BE49-F238E27FC236}">
                <a16:creationId xmlns:a16="http://schemas.microsoft.com/office/drawing/2014/main" id="{4D09C3F0-BCC8-4E90-A10B-A5460DD2AA23}"/>
              </a:ext>
            </a:extLst>
          </p:cNvPr>
          <p:cNvSpPr txBox="1">
            <a:spLocks/>
          </p:cNvSpPr>
          <p:nvPr/>
        </p:nvSpPr>
        <p:spPr>
          <a:xfrm>
            <a:off x="11209338" y="6487948"/>
            <a:ext cx="503237" cy="1188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CD20402E-4056-4001-89CF-0B4802FF6865}" type="slidenum">
              <a:rPr lang="de-DE" sz="1000" smtClean="0">
                <a:solidFill>
                  <a:srgbClr val="04545E"/>
                </a:solidFill>
                <a:latin typeface="OCR A Tribute Pro" panose="020F0504020204070C04" pitchFamily="34" charset="0"/>
              </a:rPr>
              <a:pPr algn="r">
                <a:defRPr/>
              </a:pPr>
              <a:t>2</a:t>
            </a:fld>
            <a:endParaRPr lang="de-DE" sz="1000">
              <a:solidFill>
                <a:srgbClr val="04545E"/>
              </a:solidFill>
              <a:latin typeface="OCR A Tribute Pro" panose="020F0504020204070C04" pitchFamily="34" charset="0"/>
            </a:endParaRPr>
          </a:p>
        </p:txBody>
      </p:sp>
      <p:sp>
        <p:nvSpPr>
          <p:cNvPr id="27" name="Foliennummernplatzhalter 4">
            <a:extLst>
              <a:ext uri="{FF2B5EF4-FFF2-40B4-BE49-F238E27FC236}">
                <a16:creationId xmlns:a16="http://schemas.microsoft.com/office/drawing/2014/main" id="{469760A1-781F-458D-9546-E0DA619711B6}"/>
              </a:ext>
            </a:extLst>
          </p:cNvPr>
          <p:cNvSpPr txBox="1">
            <a:spLocks/>
          </p:cNvSpPr>
          <p:nvPr/>
        </p:nvSpPr>
        <p:spPr bwMode="gray">
          <a:xfrm>
            <a:off x="11209338" y="6487948"/>
            <a:ext cx="503237" cy="1188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1pPr>
            <a:lvl2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2pPr>
            <a:lvl3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3pPr>
            <a:lvl4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4pPr>
            <a:lvl5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5pPr>
            <a:lvl6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6pPr>
            <a:lvl7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7pPr>
            <a:lvl8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8pPr>
            <a:lvl9pPr marL="0" algn="r" defTabSz="914400" rtl="0" eaLnBrk="1" latinLnBrk="0" hangingPunct="1">
              <a:defRPr sz="1000" kern="1200">
                <a:solidFill>
                  <a:schemeClr val="accent2"/>
                </a:solidFill>
                <a:latin typeface="OCR A Tribute Pro" panose="020F0504020204070C04" pitchFamily="34" charset="0"/>
                <a:ea typeface="+mn-ea"/>
                <a:cs typeface="+mn-cs"/>
              </a:defRPr>
            </a:lvl9pPr>
          </a:lstStyle>
          <a:p>
            <a:fld id="{CD20402E-4056-4001-89CF-0B4802FF6865}" type="slidenum">
              <a:rPr lang="de-DE" smtClean="0">
                <a:solidFill>
                  <a:schemeClr val="bg1"/>
                </a:solidFill>
              </a:rPr>
              <a:pPr/>
              <a:t>2</a:t>
            </a:fld>
            <a:endParaRPr lang="de-DE">
              <a:solidFill>
                <a:schemeClr val="bg1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00B27F80-9EC6-4539-8B99-77A3D12811EF}"/>
              </a:ext>
            </a:extLst>
          </p:cNvPr>
          <p:cNvGrpSpPr/>
          <p:nvPr/>
        </p:nvGrpSpPr>
        <p:grpSpPr bwMode="gray">
          <a:xfrm>
            <a:off x="5584825" y="6397076"/>
            <a:ext cx="1022350" cy="224624"/>
            <a:chOff x="10416540" y="264908"/>
            <a:chExt cx="1296035" cy="284756"/>
          </a:xfrm>
          <a:solidFill>
            <a:schemeClr val="bg1"/>
          </a:solidFill>
        </p:grpSpPr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2B51DA40-F4BF-4C06-807C-DEFC852B1796}"/>
                </a:ext>
              </a:extLst>
            </p:cNvPr>
            <p:cNvSpPr/>
            <p:nvPr/>
          </p:nvSpPr>
          <p:spPr bwMode="gray">
            <a:xfrm>
              <a:off x="10481191" y="264908"/>
              <a:ext cx="322020" cy="162404"/>
            </a:xfrm>
            <a:custGeom>
              <a:avLst/>
              <a:gdLst>
                <a:gd name="connsiteX0" fmla="*/ 171102 w 1589801"/>
                <a:gd name="connsiteY0" fmla="*/ 0 h 801785"/>
                <a:gd name="connsiteX1" fmla="*/ 0 w 1589801"/>
                <a:gd name="connsiteY1" fmla="*/ 801786 h 801785"/>
                <a:gd name="connsiteX2" fmla="*/ 427754 w 1589801"/>
                <a:gd name="connsiteY2" fmla="*/ 801786 h 801785"/>
                <a:gd name="connsiteX3" fmla="*/ 519851 w 1589801"/>
                <a:gd name="connsiteY3" fmla="*/ 370420 h 801785"/>
                <a:gd name="connsiteX4" fmla="*/ 1510571 w 1589801"/>
                <a:gd name="connsiteY4" fmla="*/ 370420 h 801785"/>
                <a:gd name="connsiteX5" fmla="*/ 1589802 w 1589801"/>
                <a:gd name="connsiteY5" fmla="*/ 0 h 801785"/>
                <a:gd name="connsiteX6" fmla="*/ 171102 w 1589801"/>
                <a:gd name="connsiteY6" fmla="*/ 0 h 80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9801" h="801785">
                  <a:moveTo>
                    <a:pt x="171102" y="0"/>
                  </a:moveTo>
                  <a:lnTo>
                    <a:pt x="0" y="801786"/>
                  </a:lnTo>
                  <a:lnTo>
                    <a:pt x="427754" y="801786"/>
                  </a:lnTo>
                  <a:lnTo>
                    <a:pt x="519851" y="370420"/>
                  </a:lnTo>
                  <a:lnTo>
                    <a:pt x="1510571" y="370420"/>
                  </a:lnTo>
                  <a:lnTo>
                    <a:pt x="1589802" y="0"/>
                  </a:lnTo>
                  <a:lnTo>
                    <a:pt x="171102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2B28905-A073-48B4-B1F0-4F779B3A9662}"/>
                </a:ext>
              </a:extLst>
            </p:cNvPr>
            <p:cNvSpPr/>
            <p:nvPr/>
          </p:nvSpPr>
          <p:spPr bwMode="gray">
            <a:xfrm>
              <a:off x="10416540" y="386803"/>
              <a:ext cx="322751" cy="162861"/>
            </a:xfrm>
            <a:custGeom>
              <a:avLst/>
              <a:gdLst>
                <a:gd name="connsiteX0" fmla="*/ 1165659 w 1593413"/>
                <a:gd name="connsiteY0" fmla="*/ 0 h 804042"/>
                <a:gd name="connsiteX1" fmla="*/ 1073111 w 1593413"/>
                <a:gd name="connsiteY1" fmla="*/ 433623 h 804042"/>
                <a:gd name="connsiteX2" fmla="*/ 79005 w 1593413"/>
                <a:gd name="connsiteY2" fmla="*/ 433623 h 804042"/>
                <a:gd name="connsiteX3" fmla="*/ 0 w 1593413"/>
                <a:gd name="connsiteY3" fmla="*/ 804043 h 804042"/>
                <a:gd name="connsiteX4" fmla="*/ 1421860 w 1593413"/>
                <a:gd name="connsiteY4" fmla="*/ 804043 h 804042"/>
                <a:gd name="connsiteX5" fmla="*/ 1593413 w 1593413"/>
                <a:gd name="connsiteY5" fmla="*/ 0 h 804042"/>
                <a:gd name="connsiteX6" fmla="*/ 1165659 w 1593413"/>
                <a:gd name="connsiteY6" fmla="*/ 0 h 80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413" h="804042">
                  <a:moveTo>
                    <a:pt x="1165659" y="0"/>
                  </a:moveTo>
                  <a:lnTo>
                    <a:pt x="1073111" y="433623"/>
                  </a:lnTo>
                  <a:lnTo>
                    <a:pt x="79005" y="433623"/>
                  </a:lnTo>
                  <a:lnTo>
                    <a:pt x="0" y="804043"/>
                  </a:lnTo>
                  <a:lnTo>
                    <a:pt x="1421860" y="804043"/>
                  </a:lnTo>
                  <a:lnTo>
                    <a:pt x="1593413" y="0"/>
                  </a:lnTo>
                  <a:lnTo>
                    <a:pt x="1165659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A0D96C08-0C5F-45C4-96F7-64A6F963BD51}"/>
                </a:ext>
              </a:extLst>
            </p:cNvPr>
            <p:cNvSpPr/>
            <p:nvPr/>
          </p:nvSpPr>
          <p:spPr bwMode="gray">
            <a:xfrm>
              <a:off x="10877417" y="384590"/>
              <a:ext cx="73064" cy="122056"/>
            </a:xfrm>
            <a:custGeom>
              <a:avLst/>
              <a:gdLst>
                <a:gd name="connsiteX0" fmla="*/ 0 w 360713"/>
                <a:gd name="connsiteY0" fmla="*/ 528068 h 602587"/>
                <a:gd name="connsiteX1" fmla="*/ 184420 w 360713"/>
                <a:gd name="connsiteY1" fmla="*/ 602558 h 602587"/>
                <a:gd name="connsiteX2" fmla="*/ 360713 w 360713"/>
                <a:gd name="connsiteY2" fmla="*/ 444548 h 602587"/>
                <a:gd name="connsiteX3" fmla="*/ 70201 w 360713"/>
                <a:gd name="connsiteY3" fmla="*/ 154939 h 602587"/>
                <a:gd name="connsiteX4" fmla="*/ 192772 w 360713"/>
                <a:gd name="connsiteY4" fmla="*/ 54716 h 602587"/>
                <a:gd name="connsiteX5" fmla="*/ 320308 w 360713"/>
                <a:gd name="connsiteY5" fmla="*/ 104376 h 602587"/>
                <a:gd name="connsiteX6" fmla="*/ 348298 w 360713"/>
                <a:gd name="connsiteY6" fmla="*/ 56296 h 602587"/>
                <a:gd name="connsiteX7" fmla="*/ 192772 w 360713"/>
                <a:gd name="connsiteY7" fmla="*/ 90 h 602587"/>
                <a:gd name="connsiteX8" fmla="*/ 12190 w 360713"/>
                <a:gd name="connsiteY8" fmla="*/ 156520 h 602587"/>
                <a:gd name="connsiteX9" fmla="*/ 302701 w 360713"/>
                <a:gd name="connsiteY9" fmla="*/ 446354 h 602587"/>
                <a:gd name="connsiteX10" fmla="*/ 186903 w 360713"/>
                <a:gd name="connsiteY10" fmla="*/ 547255 h 602587"/>
                <a:gd name="connsiteX11" fmla="*/ 34536 w 360713"/>
                <a:gd name="connsiteY11" fmla="*/ 483599 h 60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0713" h="602587">
                  <a:moveTo>
                    <a:pt x="0" y="528068"/>
                  </a:moveTo>
                  <a:cubicBezTo>
                    <a:pt x="48915" y="576741"/>
                    <a:pt x="115415" y="603603"/>
                    <a:pt x="184420" y="602558"/>
                  </a:cubicBezTo>
                  <a:cubicBezTo>
                    <a:pt x="293672" y="602558"/>
                    <a:pt x="360713" y="532131"/>
                    <a:pt x="360713" y="444548"/>
                  </a:cubicBezTo>
                  <a:cubicBezTo>
                    <a:pt x="360713" y="253357"/>
                    <a:pt x="70201" y="293085"/>
                    <a:pt x="70201" y="154939"/>
                  </a:cubicBezTo>
                  <a:cubicBezTo>
                    <a:pt x="70201" y="103474"/>
                    <a:pt x="118282" y="54716"/>
                    <a:pt x="192772" y="54716"/>
                  </a:cubicBezTo>
                  <a:cubicBezTo>
                    <a:pt x="239814" y="55678"/>
                    <a:pt x="285004" y="73271"/>
                    <a:pt x="320308" y="104376"/>
                  </a:cubicBezTo>
                  <a:lnTo>
                    <a:pt x="348298" y="56296"/>
                  </a:lnTo>
                  <a:cubicBezTo>
                    <a:pt x="305433" y="18562"/>
                    <a:pt x="249858" y="-1524"/>
                    <a:pt x="192772" y="90"/>
                  </a:cubicBezTo>
                  <a:cubicBezTo>
                    <a:pt x="85100" y="90"/>
                    <a:pt x="12190" y="73000"/>
                    <a:pt x="12190" y="156520"/>
                  </a:cubicBezTo>
                  <a:cubicBezTo>
                    <a:pt x="12190" y="337102"/>
                    <a:pt x="302701" y="299631"/>
                    <a:pt x="302701" y="446354"/>
                  </a:cubicBezTo>
                  <a:cubicBezTo>
                    <a:pt x="302701" y="509107"/>
                    <a:pt x="250558" y="547255"/>
                    <a:pt x="186903" y="547255"/>
                  </a:cubicBezTo>
                  <a:cubicBezTo>
                    <a:pt x="129929" y="545864"/>
                    <a:pt x="75551" y="523149"/>
                    <a:pt x="34536" y="483599"/>
                  </a:cubicBez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87818D-D3B6-45D6-9C55-71D887B29966}"/>
                </a:ext>
              </a:extLst>
            </p:cNvPr>
            <p:cNvSpPr/>
            <p:nvPr/>
          </p:nvSpPr>
          <p:spPr bwMode="gray">
            <a:xfrm>
              <a:off x="10987196" y="386803"/>
              <a:ext cx="96245" cy="117825"/>
            </a:xfrm>
            <a:custGeom>
              <a:avLst/>
              <a:gdLst>
                <a:gd name="connsiteX0" fmla="*/ 209475 w 475157"/>
                <a:gd name="connsiteY0" fmla="*/ 581701 h 581700"/>
                <a:gd name="connsiteX1" fmla="*/ 266585 w 475157"/>
                <a:gd name="connsiteY1" fmla="*/ 581701 h 581700"/>
                <a:gd name="connsiteX2" fmla="*/ 266585 w 475157"/>
                <a:gd name="connsiteY2" fmla="*/ 51240 h 581700"/>
                <a:gd name="connsiteX3" fmla="*/ 475157 w 475157"/>
                <a:gd name="connsiteY3" fmla="*/ 51240 h 581700"/>
                <a:gd name="connsiteX4" fmla="*/ 475157 w 475157"/>
                <a:gd name="connsiteY4" fmla="*/ 0 h 581700"/>
                <a:gd name="connsiteX5" fmla="*/ 0 w 475157"/>
                <a:gd name="connsiteY5" fmla="*/ 0 h 581700"/>
                <a:gd name="connsiteX6" fmla="*/ 0 w 475157"/>
                <a:gd name="connsiteY6" fmla="*/ 51240 h 581700"/>
                <a:gd name="connsiteX7" fmla="*/ 209475 w 475157"/>
                <a:gd name="connsiteY7" fmla="*/ 51240 h 581700"/>
                <a:gd name="connsiteX8" fmla="*/ 209475 w 475157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157" h="581700">
                  <a:moveTo>
                    <a:pt x="209475" y="581701"/>
                  </a:moveTo>
                  <a:lnTo>
                    <a:pt x="266585" y="581701"/>
                  </a:lnTo>
                  <a:lnTo>
                    <a:pt x="266585" y="51240"/>
                  </a:lnTo>
                  <a:lnTo>
                    <a:pt x="475157" y="51240"/>
                  </a:lnTo>
                  <a:lnTo>
                    <a:pt x="475157" y="0"/>
                  </a:lnTo>
                  <a:lnTo>
                    <a:pt x="0" y="0"/>
                  </a:lnTo>
                  <a:lnTo>
                    <a:pt x="0" y="51240"/>
                  </a:lnTo>
                  <a:lnTo>
                    <a:pt x="209475" y="51240"/>
                  </a:lnTo>
                  <a:lnTo>
                    <a:pt x="209475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C6C2BBEE-82BB-42BC-8A5A-854399352E98}"/>
                </a:ext>
              </a:extLst>
            </p:cNvPr>
            <p:cNvSpPr/>
            <p:nvPr/>
          </p:nvSpPr>
          <p:spPr bwMode="gray">
            <a:xfrm>
              <a:off x="11115812" y="386803"/>
              <a:ext cx="98897" cy="117825"/>
            </a:xfrm>
            <a:custGeom>
              <a:avLst/>
              <a:gdLst>
                <a:gd name="connsiteX0" fmla="*/ 427980 w 488249"/>
                <a:gd name="connsiteY0" fmla="*/ 581701 h 581700"/>
                <a:gd name="connsiteX1" fmla="*/ 488250 w 488249"/>
                <a:gd name="connsiteY1" fmla="*/ 581701 h 581700"/>
                <a:gd name="connsiteX2" fmla="*/ 274711 w 488249"/>
                <a:gd name="connsiteY2" fmla="*/ 0 h 581700"/>
                <a:gd name="connsiteX3" fmla="*/ 213538 w 488249"/>
                <a:gd name="connsiteY3" fmla="*/ 0 h 581700"/>
                <a:gd name="connsiteX4" fmla="*/ 0 w 488249"/>
                <a:gd name="connsiteY4" fmla="*/ 581701 h 581700"/>
                <a:gd name="connsiteX5" fmla="*/ 60269 w 488249"/>
                <a:gd name="connsiteY5" fmla="*/ 581701 h 581700"/>
                <a:gd name="connsiteX6" fmla="*/ 243335 w 488249"/>
                <a:gd name="connsiteY6" fmla="*/ 60269 h 581700"/>
                <a:gd name="connsiteX7" fmla="*/ 244915 w 488249"/>
                <a:gd name="connsiteY7" fmla="*/ 60269 h 581700"/>
                <a:gd name="connsiteX8" fmla="*/ 427980 w 488249"/>
                <a:gd name="connsiteY8" fmla="*/ 581701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249" h="581700">
                  <a:moveTo>
                    <a:pt x="427980" y="581701"/>
                  </a:moveTo>
                  <a:lnTo>
                    <a:pt x="488250" y="581701"/>
                  </a:lnTo>
                  <a:lnTo>
                    <a:pt x="274711" y="0"/>
                  </a:lnTo>
                  <a:lnTo>
                    <a:pt x="213538" y="0"/>
                  </a:lnTo>
                  <a:lnTo>
                    <a:pt x="0" y="581701"/>
                  </a:lnTo>
                  <a:lnTo>
                    <a:pt x="60269" y="581701"/>
                  </a:lnTo>
                  <a:lnTo>
                    <a:pt x="243335" y="60269"/>
                  </a:lnTo>
                  <a:lnTo>
                    <a:pt x="244915" y="60269"/>
                  </a:lnTo>
                  <a:lnTo>
                    <a:pt x="427980" y="581701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BE97E937-3DB6-4151-8BF5-1F7E673EBD57}"/>
                </a:ext>
              </a:extLst>
            </p:cNvPr>
            <p:cNvSpPr/>
            <p:nvPr/>
          </p:nvSpPr>
          <p:spPr bwMode="gray">
            <a:xfrm>
              <a:off x="11262854" y="384741"/>
              <a:ext cx="104795" cy="121904"/>
            </a:xfrm>
            <a:custGeom>
              <a:avLst/>
              <a:gdLst>
                <a:gd name="connsiteX0" fmla="*/ 0 w 517368"/>
                <a:gd name="connsiteY0" fmla="*/ 297305 h 601835"/>
                <a:gd name="connsiteX1" fmla="*/ 294801 w 517368"/>
                <a:gd name="connsiteY1" fmla="*/ 601812 h 601835"/>
                <a:gd name="connsiteX2" fmla="*/ 517368 w 517368"/>
                <a:gd name="connsiteY2" fmla="*/ 511521 h 601835"/>
                <a:gd name="connsiteX3" fmla="*/ 484638 w 517368"/>
                <a:gd name="connsiteY3" fmla="*/ 471116 h 601835"/>
                <a:gd name="connsiteX4" fmla="*/ 295929 w 517368"/>
                <a:gd name="connsiteY4" fmla="*/ 548766 h 601835"/>
                <a:gd name="connsiteX5" fmla="*/ 60044 w 517368"/>
                <a:gd name="connsiteY5" fmla="*/ 296402 h 601835"/>
                <a:gd name="connsiteX6" fmla="*/ 294349 w 517368"/>
                <a:gd name="connsiteY6" fmla="*/ 53068 h 601835"/>
                <a:gd name="connsiteX7" fmla="*/ 471546 w 517368"/>
                <a:gd name="connsiteY7" fmla="*/ 117626 h 601835"/>
                <a:gd name="connsiteX8" fmla="*/ 502019 w 517368"/>
                <a:gd name="connsiteY8" fmla="*/ 75415 h 601835"/>
                <a:gd name="connsiteX9" fmla="*/ 292769 w 517368"/>
                <a:gd name="connsiteY9" fmla="*/ 22 h 601835"/>
                <a:gd name="connsiteX10" fmla="*/ 361 w 517368"/>
                <a:gd name="connsiteY10" fmla="*/ 285425 h 601835"/>
                <a:gd name="connsiteX11" fmla="*/ 452 w 517368"/>
                <a:gd name="connsiteY11" fmla="*/ 297305 h 6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7368" h="601835">
                  <a:moveTo>
                    <a:pt x="0" y="297305"/>
                  </a:moveTo>
                  <a:cubicBezTo>
                    <a:pt x="0" y="466827"/>
                    <a:pt x="122570" y="601812"/>
                    <a:pt x="294801" y="601812"/>
                  </a:cubicBezTo>
                  <a:cubicBezTo>
                    <a:pt x="378117" y="602830"/>
                    <a:pt x="458318" y="570289"/>
                    <a:pt x="517368" y="511521"/>
                  </a:cubicBezTo>
                  <a:lnTo>
                    <a:pt x="484638" y="471116"/>
                  </a:lnTo>
                  <a:cubicBezTo>
                    <a:pt x="434188" y="520507"/>
                    <a:pt x="366514" y="548353"/>
                    <a:pt x="295929" y="548766"/>
                  </a:cubicBezTo>
                  <a:cubicBezTo>
                    <a:pt x="157784" y="548766"/>
                    <a:pt x="60044" y="435902"/>
                    <a:pt x="60044" y="296402"/>
                  </a:cubicBezTo>
                  <a:cubicBezTo>
                    <a:pt x="60044" y="156903"/>
                    <a:pt x="157784" y="53068"/>
                    <a:pt x="294349" y="53068"/>
                  </a:cubicBezTo>
                  <a:cubicBezTo>
                    <a:pt x="359201" y="52926"/>
                    <a:pt x="421999" y="75803"/>
                    <a:pt x="471546" y="117626"/>
                  </a:cubicBezTo>
                  <a:lnTo>
                    <a:pt x="502019" y="75415"/>
                  </a:lnTo>
                  <a:cubicBezTo>
                    <a:pt x="502019" y="75415"/>
                    <a:pt x="431818" y="22"/>
                    <a:pt x="292769" y="22"/>
                  </a:cubicBezTo>
                  <a:cubicBezTo>
                    <a:pt x="133202" y="-1915"/>
                    <a:pt x="2280" y="125865"/>
                    <a:pt x="361" y="285425"/>
                  </a:cubicBezTo>
                  <a:cubicBezTo>
                    <a:pt x="293" y="289385"/>
                    <a:pt x="339" y="293346"/>
                    <a:pt x="452" y="297305"/>
                  </a:cubicBezTo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971C2745-2B8A-4D17-9216-A262CBE56D15}"/>
                </a:ext>
              </a:extLst>
            </p:cNvPr>
            <p:cNvSpPr/>
            <p:nvPr/>
          </p:nvSpPr>
          <p:spPr bwMode="gray">
            <a:xfrm>
              <a:off x="11415291" y="386803"/>
              <a:ext cx="50706" cy="117825"/>
            </a:xfrm>
            <a:custGeom>
              <a:avLst/>
              <a:gdLst>
                <a:gd name="connsiteX0" fmla="*/ 16930 w 250332"/>
                <a:gd name="connsiteY0" fmla="*/ 303604 h 581700"/>
                <a:gd name="connsiteX1" fmla="*/ 183291 w 250332"/>
                <a:gd name="connsiteY1" fmla="*/ 581701 h 581700"/>
                <a:gd name="connsiteX2" fmla="*/ 250332 w 250332"/>
                <a:gd name="connsiteY2" fmla="*/ 581701 h 581700"/>
                <a:gd name="connsiteX3" fmla="*/ 65010 w 250332"/>
                <a:gd name="connsiteY3" fmla="*/ 276291 h 581700"/>
                <a:gd name="connsiteX4" fmla="*/ 65010 w 250332"/>
                <a:gd name="connsiteY4" fmla="*/ 274711 h 581700"/>
                <a:gd name="connsiteX5" fmla="*/ 238820 w 250332"/>
                <a:gd name="connsiteY5" fmla="*/ 0 h 581700"/>
                <a:gd name="connsiteX6" fmla="*/ 173359 w 250332"/>
                <a:gd name="connsiteY6" fmla="*/ 0 h 581700"/>
                <a:gd name="connsiteX7" fmla="*/ 16930 w 250332"/>
                <a:gd name="connsiteY7" fmla="*/ 252364 h 581700"/>
                <a:gd name="connsiteX8" fmla="*/ 0 w 250332"/>
                <a:gd name="connsiteY8" fmla="*/ 278323 h 581700"/>
                <a:gd name="connsiteX9" fmla="*/ 16930 w 250332"/>
                <a:gd name="connsiteY9" fmla="*/ 303604 h 58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32" h="581700">
                  <a:moveTo>
                    <a:pt x="16930" y="303604"/>
                  </a:moveTo>
                  <a:lnTo>
                    <a:pt x="183291" y="581701"/>
                  </a:lnTo>
                  <a:lnTo>
                    <a:pt x="250332" y="581701"/>
                  </a:lnTo>
                  <a:lnTo>
                    <a:pt x="65010" y="276291"/>
                  </a:lnTo>
                  <a:lnTo>
                    <a:pt x="65010" y="274711"/>
                  </a:lnTo>
                  <a:lnTo>
                    <a:pt x="238820" y="0"/>
                  </a:lnTo>
                  <a:lnTo>
                    <a:pt x="173359" y="0"/>
                  </a:lnTo>
                  <a:lnTo>
                    <a:pt x="16930" y="252364"/>
                  </a:lnTo>
                  <a:lnTo>
                    <a:pt x="0" y="278323"/>
                  </a:lnTo>
                  <a:lnTo>
                    <a:pt x="16930" y="303604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40F5D19-D19A-4BA2-9BDE-0C1D462E27A5}"/>
                </a:ext>
              </a:extLst>
            </p:cNvPr>
            <p:cNvSpPr/>
            <p:nvPr/>
          </p:nvSpPr>
          <p:spPr bwMode="gray">
            <a:xfrm>
              <a:off x="11526852" y="384791"/>
              <a:ext cx="29353" cy="119883"/>
            </a:xfrm>
            <a:custGeom>
              <a:avLst/>
              <a:gdLst>
                <a:gd name="connsiteX0" fmla="*/ 0 w 144917"/>
                <a:gd name="connsiteY0" fmla="*/ 0 h 591858"/>
                <a:gd name="connsiteX1" fmla="*/ 144917 w 144917"/>
                <a:gd name="connsiteY1" fmla="*/ 0 h 591858"/>
                <a:gd name="connsiteX2" fmla="*/ 144917 w 144917"/>
                <a:gd name="connsiteY2" fmla="*/ 591859 h 591858"/>
                <a:gd name="connsiteX3" fmla="*/ 0 w 144917"/>
                <a:gd name="connsiteY3" fmla="*/ 591859 h 5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17" h="591858">
                  <a:moveTo>
                    <a:pt x="0" y="0"/>
                  </a:moveTo>
                  <a:lnTo>
                    <a:pt x="144917" y="0"/>
                  </a:lnTo>
                  <a:lnTo>
                    <a:pt x="144917" y="591859"/>
                  </a:lnTo>
                  <a:lnTo>
                    <a:pt x="0" y="591859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9556A50B-B198-4956-9C58-A6E6C2AC4C82}"/>
                </a:ext>
              </a:extLst>
            </p:cNvPr>
            <p:cNvSpPr/>
            <p:nvPr/>
          </p:nvSpPr>
          <p:spPr bwMode="gray">
            <a:xfrm>
              <a:off x="11610478" y="384791"/>
              <a:ext cx="102097" cy="119837"/>
            </a:xfrm>
            <a:custGeom>
              <a:avLst/>
              <a:gdLst>
                <a:gd name="connsiteX0" fmla="*/ 0 w 504050"/>
                <a:gd name="connsiteY0" fmla="*/ 0 h 591632"/>
                <a:gd name="connsiteX1" fmla="*/ 0 w 504050"/>
                <a:gd name="connsiteY1" fmla="*/ 124150 h 591632"/>
                <a:gd name="connsiteX2" fmla="*/ 179679 w 504050"/>
                <a:gd name="connsiteY2" fmla="*/ 124150 h 591632"/>
                <a:gd name="connsiteX3" fmla="*/ 179679 w 504050"/>
                <a:gd name="connsiteY3" fmla="*/ 591633 h 591632"/>
                <a:gd name="connsiteX4" fmla="*/ 324597 w 504050"/>
                <a:gd name="connsiteY4" fmla="*/ 591633 h 591632"/>
                <a:gd name="connsiteX5" fmla="*/ 324597 w 504050"/>
                <a:gd name="connsiteY5" fmla="*/ 124150 h 591632"/>
                <a:gd name="connsiteX6" fmla="*/ 504050 w 504050"/>
                <a:gd name="connsiteY6" fmla="*/ 124150 h 591632"/>
                <a:gd name="connsiteX7" fmla="*/ 504050 w 504050"/>
                <a:gd name="connsiteY7" fmla="*/ 0 h 591632"/>
                <a:gd name="connsiteX8" fmla="*/ 0 w 504050"/>
                <a:gd name="connsiteY8" fmla="*/ 0 h 59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050" h="591632">
                  <a:moveTo>
                    <a:pt x="0" y="0"/>
                  </a:moveTo>
                  <a:lnTo>
                    <a:pt x="0" y="124150"/>
                  </a:lnTo>
                  <a:lnTo>
                    <a:pt x="179679" y="124150"/>
                  </a:lnTo>
                  <a:lnTo>
                    <a:pt x="179679" y="591633"/>
                  </a:lnTo>
                  <a:lnTo>
                    <a:pt x="324597" y="591633"/>
                  </a:lnTo>
                  <a:lnTo>
                    <a:pt x="324597" y="124150"/>
                  </a:lnTo>
                  <a:lnTo>
                    <a:pt x="504050" y="124150"/>
                  </a:lnTo>
                  <a:lnTo>
                    <a:pt x="5040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25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0B4C6CDF-07BB-9D25-984E-E4FABE9161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342" y="1404145"/>
            <a:ext cx="560881" cy="60965"/>
          </a:xfrm>
          <a:prstGeom prst="rect">
            <a:avLst/>
          </a:prstGeom>
        </p:spPr>
      </p:pic>
      <p:sp>
        <p:nvSpPr>
          <p:cNvPr id="14" name="Titel 3">
            <a:extLst>
              <a:ext uri="{FF2B5EF4-FFF2-40B4-BE49-F238E27FC236}">
                <a16:creationId xmlns:a16="http://schemas.microsoft.com/office/drawing/2014/main" id="{32685FBD-4AC1-67F6-CBF7-76FEFF812565}"/>
              </a:ext>
            </a:extLst>
          </p:cNvPr>
          <p:cNvSpPr txBox="1">
            <a:spLocks/>
          </p:cNvSpPr>
          <p:nvPr/>
        </p:nvSpPr>
        <p:spPr bwMode="gray">
          <a:xfrm>
            <a:off x="8455338" y="4708213"/>
            <a:ext cx="2885187" cy="46323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>
                <a:solidFill>
                  <a:srgbClr val="F8EC17"/>
                </a:solidFill>
                <a:latin typeface="+mn-lt"/>
              </a:rPr>
              <a:t>Let‘s connect!</a:t>
            </a:r>
            <a:endParaRPr lang="en-US" sz="1600">
              <a:latin typeface="+mn-lt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E7FE114-B235-7A4D-E3D1-23793E077AAA}"/>
              </a:ext>
            </a:extLst>
          </p:cNvPr>
          <p:cNvSpPr/>
          <p:nvPr/>
        </p:nvSpPr>
        <p:spPr bwMode="gray">
          <a:xfrm>
            <a:off x="8285318" y="1260511"/>
            <a:ext cx="3306607" cy="33066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/>
          </a:p>
        </p:txBody>
      </p:sp>
      <p:pic>
        <p:nvPicPr>
          <p:cNvPr id="5" name="Grafik 4" descr="Ein Bild, das Text, Logo, Schrift, Marke enthält.&#10;&#10;Automatisch generierte Beschreibung">
            <a:extLst>
              <a:ext uri="{FF2B5EF4-FFF2-40B4-BE49-F238E27FC236}">
                <a16:creationId xmlns:a16="http://schemas.microsoft.com/office/drawing/2014/main" id="{9D9D1676-AF2A-BC41-11FD-E4250F2C17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475" y="5147004"/>
            <a:ext cx="2008605" cy="974487"/>
          </a:xfrm>
          <a:prstGeom prst="rect">
            <a:avLst/>
          </a:prstGeom>
        </p:spPr>
      </p:pic>
      <p:pic>
        <p:nvPicPr>
          <p:cNvPr id="13" name="Grafik 12" descr="Ein Bild, das Person, Menschliches Gesicht, Lächeln, Kleidung enthält.&#10;&#10;Automatisch generierte Beschreibung">
            <a:extLst>
              <a:ext uri="{FF2B5EF4-FFF2-40B4-BE49-F238E27FC236}">
                <a16:creationId xmlns:a16="http://schemas.microsoft.com/office/drawing/2014/main" id="{21201B71-7DFD-5FB7-04D0-912502541C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" t="3383" r="90" b="22128"/>
          <a:stretch>
            <a:fillRect/>
          </a:stretch>
        </p:blipFill>
        <p:spPr>
          <a:xfrm>
            <a:off x="8381173" y="1356366"/>
            <a:ext cx="3114896" cy="3114896"/>
          </a:xfrm>
          <a:custGeom>
            <a:avLst/>
            <a:gdLst>
              <a:gd name="connsiteX0" fmla="*/ 1605227 w 3210454"/>
              <a:gd name="connsiteY0" fmla="*/ 0 h 3210454"/>
              <a:gd name="connsiteX1" fmla="*/ 3210454 w 3210454"/>
              <a:gd name="connsiteY1" fmla="*/ 1605227 h 3210454"/>
              <a:gd name="connsiteX2" fmla="*/ 1605227 w 3210454"/>
              <a:gd name="connsiteY2" fmla="*/ 3210454 h 3210454"/>
              <a:gd name="connsiteX3" fmla="*/ 0 w 3210454"/>
              <a:gd name="connsiteY3" fmla="*/ 1605227 h 3210454"/>
              <a:gd name="connsiteX4" fmla="*/ 1605227 w 3210454"/>
              <a:gd name="connsiteY4" fmla="*/ 0 h 321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0454" h="3210454">
                <a:moveTo>
                  <a:pt x="1605227" y="0"/>
                </a:moveTo>
                <a:cubicBezTo>
                  <a:pt x="2491769" y="0"/>
                  <a:pt x="3210454" y="718685"/>
                  <a:pt x="3210454" y="1605227"/>
                </a:cubicBezTo>
                <a:cubicBezTo>
                  <a:pt x="3210454" y="2491769"/>
                  <a:pt x="2491769" y="3210454"/>
                  <a:pt x="1605227" y="3210454"/>
                </a:cubicBezTo>
                <a:cubicBezTo>
                  <a:pt x="718685" y="3210454"/>
                  <a:pt x="0" y="2491769"/>
                  <a:pt x="0" y="1605227"/>
                </a:cubicBezTo>
                <a:cubicBezTo>
                  <a:pt x="0" y="718685"/>
                  <a:pt x="718685" y="0"/>
                  <a:pt x="1605227" y="0"/>
                </a:cubicBezTo>
                <a:close/>
              </a:path>
            </a:pathLst>
          </a:custGeom>
        </p:spPr>
      </p:pic>
      <p:pic>
        <p:nvPicPr>
          <p:cNvPr id="16" name="Grafik 15" descr="Ein Bild, das Grafiken, Muster, Pixel, Design enthält.&#10;&#10;Automatisch generierte Beschreibung">
            <a:extLst>
              <a:ext uri="{FF2B5EF4-FFF2-40B4-BE49-F238E27FC236}">
                <a16:creationId xmlns:a16="http://schemas.microsoft.com/office/drawing/2014/main" id="{36066B23-B509-71C4-9A8B-CC3585E6FA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5316" y="5074480"/>
            <a:ext cx="1565229" cy="1565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10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CE84C-DF23-C3B9-A94A-328568B6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553E3A-AA0E-882B-E965-94E673867DE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585440F-A0C0-C4E6-1D43-AE513749B6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1540551"/>
            <a:ext cx="5795965" cy="492443"/>
          </a:xfrm>
        </p:spPr>
        <p:txBody>
          <a:bodyPr/>
          <a:lstStyle/>
          <a:p>
            <a:r>
              <a:rPr lang="de-DE" sz="1600" dirty="0">
                <a:solidFill>
                  <a:schemeClr val="accent1"/>
                </a:solidFill>
                <a:latin typeface="Consolas" panose="020B0609020204030204" pitchFamily="49" charset="0"/>
              </a:rPr>
              <a:t>PostgreSQL Database Conference </a:t>
            </a:r>
            <a:r>
              <a:rPr lang="de-DE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Belgium</a:t>
            </a:r>
            <a:endParaRPr lang="de-DE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</p:txBody>
      </p:sp>
      <p:pic>
        <p:nvPicPr>
          <p:cNvPr id="8" name="Bildplatzhalter 7" descr="Ein Bild, das Person, Büroausstattung, Bürobedarf, Im Haus enthält.&#10;&#10;Automatisch generierte Beschreibung">
            <a:extLst>
              <a:ext uri="{FF2B5EF4-FFF2-40B4-BE49-F238E27FC236}">
                <a16:creationId xmlns:a16="http://schemas.microsoft.com/office/drawing/2014/main" id="{907B66BB-B18D-740B-0958-33CF3A396B1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1" r="20851"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B679B84-9368-9781-C291-FBCF561C98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4" y="2097088"/>
            <a:ext cx="5437189" cy="4427280"/>
          </a:xfrm>
        </p:spPr>
        <p:txBody>
          <a:bodyPr/>
          <a:lstStyle/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1</a:t>
            </a:r>
            <a:r>
              <a:rPr lang="de-DE" sz="2200" dirty="0"/>
              <a:t>	</a:t>
            </a:r>
            <a:r>
              <a:rPr lang="en-GB" sz="2200" dirty="0"/>
              <a:t>W</a:t>
            </a:r>
            <a:r>
              <a:rPr lang="en-DE" sz="2200" dirty="0"/>
              <a:t>hat is a large object</a:t>
            </a:r>
            <a:endParaRPr lang="de-DE" sz="2200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2</a:t>
            </a:r>
            <a:r>
              <a:rPr lang="de-DE" sz="2200" dirty="0"/>
              <a:t>	</a:t>
            </a:r>
            <a:r>
              <a:rPr lang="en-DE" sz="2200" dirty="0"/>
              <a:t>Largeobject features in </a:t>
            </a:r>
            <a:r>
              <a:rPr lang="de-DE" sz="2200" dirty="0"/>
              <a:t>	</a:t>
            </a:r>
            <a:r>
              <a:rPr lang="en-DE" sz="2200" dirty="0"/>
              <a:t>PostgreSQL</a:t>
            </a:r>
          </a:p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3</a:t>
            </a:r>
            <a:r>
              <a:rPr lang="de-DE" sz="2200" dirty="0"/>
              <a:t>	Large </a:t>
            </a:r>
            <a:r>
              <a:rPr lang="de-DE" sz="2200" dirty="0" err="1"/>
              <a:t>object</a:t>
            </a:r>
            <a:r>
              <a:rPr lang="de-DE" sz="2200" dirty="0"/>
              <a:t> </a:t>
            </a:r>
            <a:r>
              <a:rPr lang="de-DE" sz="2200" dirty="0" err="1"/>
              <a:t>functions</a:t>
            </a:r>
            <a:endParaRPr lang="de-DE" sz="2200" dirty="0"/>
          </a:p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4     </a:t>
            </a:r>
            <a:r>
              <a:rPr lang="en-GB" sz="2200" dirty="0" err="1"/>
              <a:t>Vaccumlo</a:t>
            </a:r>
            <a:endParaRPr lang="de-DE" sz="2200" dirty="0"/>
          </a:p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5</a:t>
            </a:r>
            <a:r>
              <a:rPr lang="de-DE" sz="2200" b="1" dirty="0">
                <a:solidFill>
                  <a:srgbClr val="FFFFFF"/>
                </a:solidFill>
              </a:rPr>
              <a:t>     </a:t>
            </a:r>
            <a:r>
              <a:rPr lang="de-DE" sz="2200" dirty="0"/>
              <a:t>Demo</a:t>
            </a:r>
            <a:endParaRPr lang="en-GB" sz="2200" dirty="0"/>
          </a:p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6     </a:t>
            </a:r>
            <a:r>
              <a:rPr lang="en-GB" sz="2200" dirty="0"/>
              <a:t>What happens when you 	run </a:t>
            </a:r>
            <a:r>
              <a:rPr lang="en-GB" sz="2200" dirty="0" err="1"/>
              <a:t>vacuumlo</a:t>
            </a:r>
            <a:endParaRPr lang="en-GB" sz="2200" dirty="0"/>
          </a:p>
          <a:p>
            <a:pPr marL="0" indent="0">
              <a:buNone/>
            </a:pPr>
            <a:r>
              <a:rPr lang="de-DE" sz="2200" b="1" dirty="0">
                <a:solidFill>
                  <a:schemeClr val="accent1"/>
                </a:solidFill>
              </a:rPr>
              <a:t>07    </a:t>
            </a:r>
            <a:r>
              <a:rPr lang="en-GB" sz="2200" dirty="0"/>
              <a:t>Lo module</a:t>
            </a:r>
          </a:p>
          <a:p>
            <a:pPr marL="0" indent="0">
              <a:buNone/>
            </a:pPr>
            <a:endParaRPr lang="en-DE" sz="2400" dirty="0"/>
          </a:p>
          <a:p>
            <a:endParaRPr lang="en-DE" sz="18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7443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2621D3-FE6D-FD3F-6519-8931A6345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DE" dirty="0"/>
              <a:t>hat is a large object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CC4419-4368-58C6-DD4E-7B26776204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sz="1800" b="1" dirty="0">
                <a:latin typeface="+mn-lt"/>
              </a:rPr>
              <a:t>A </a:t>
            </a:r>
            <a:r>
              <a:rPr lang="en-DE" sz="1800" dirty="0">
                <a:latin typeface="+mn-lt"/>
              </a:rPr>
              <a:t>large object</a:t>
            </a:r>
            <a:r>
              <a:rPr lang="en-DE" sz="1800" b="1" dirty="0">
                <a:latin typeface="+mn-lt"/>
              </a:rPr>
              <a:t>(LOB) is a data type that is used to store large amount of data.</a:t>
            </a:r>
          </a:p>
          <a:p>
            <a:endParaRPr lang="en-DE" sz="1800" b="1" dirty="0">
              <a:latin typeface="+mn-lt"/>
            </a:endParaRPr>
          </a:p>
          <a:p>
            <a:r>
              <a:rPr lang="en-DE" sz="1800" b="1" dirty="0">
                <a:latin typeface="+mn-lt"/>
              </a:rPr>
              <a:t>Typically this data is too large to be stored in a regular row of a database table</a:t>
            </a:r>
          </a:p>
          <a:p>
            <a:endParaRPr lang="en-DE" sz="1800" b="1" dirty="0">
              <a:latin typeface="+mn-lt"/>
            </a:endParaRPr>
          </a:p>
          <a:p>
            <a:r>
              <a:rPr lang="en-DE" sz="1800" b="1" dirty="0">
                <a:latin typeface="+mn-lt"/>
              </a:rPr>
              <a:t>BLOB: Binary large object, eg: images, videos, etc</a:t>
            </a:r>
          </a:p>
          <a:p>
            <a:endParaRPr lang="en-DE" sz="1800" b="1" dirty="0">
              <a:latin typeface="+mn-lt"/>
            </a:endParaRPr>
          </a:p>
          <a:p>
            <a:r>
              <a:rPr lang="en-DE" sz="1800" b="1" dirty="0">
                <a:latin typeface="+mn-lt"/>
              </a:rPr>
              <a:t>CLOB: Character large object, eg: text documents or xml files</a:t>
            </a:r>
          </a:p>
          <a:p>
            <a:endParaRPr lang="de-DE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0436DA-68E3-93F5-127D-3264D899E7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0D548-7022-4336-8E03-8F0B5E3ACE4A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DC12CAE-8CB3-1535-FBDC-1E8E372F230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7B2ED-BF53-2DC0-7730-817DBFFCD8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5DF5EA3D-7816-9D80-7EA3-B21042372D4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B380966-D221-812B-7CA1-23362E4595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2861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993F7-5AB5-6D9D-1DEE-0327C8488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1233150" cy="1106575"/>
          </a:xfrm>
        </p:spPr>
        <p:txBody>
          <a:bodyPr anchor="b">
            <a:normAutofit/>
          </a:bodyPr>
          <a:lstStyle/>
          <a:p>
            <a:r>
              <a:rPr lang="en-DE" dirty="0"/>
              <a:t>Postgres features for large objec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9E87E7-A733-D2FD-5ACB-66AD8A3527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4" y="1534510"/>
            <a:ext cx="9705100" cy="4631341"/>
          </a:xfrm>
        </p:spPr>
        <p:txBody>
          <a:bodyPr>
            <a:normAutofit/>
          </a:bodyPr>
          <a:lstStyle/>
          <a:p>
            <a:r>
              <a:rPr lang="en-DE" dirty="0"/>
              <a:t>1. </a:t>
            </a:r>
            <a:r>
              <a:rPr lang="en-DE" sz="1600" dirty="0"/>
              <a:t>pg_largeobject and pg_largeobject_metadata</a:t>
            </a:r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4D70153-C634-41EF-4767-D79CEAB01A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425" y="6487948"/>
            <a:ext cx="546100" cy="1188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F49EC220-982A-4C76-BFA7-FA97BCA50F9A}" type="datetime1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30.04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2A3902-E347-8C8F-178D-558285A09C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71575" y="6485793"/>
            <a:ext cx="3529013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PostgreSQL Database Conference Belgi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408A26-A4BC-F3B7-7A45-B060A6DEE7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09338" y="6487948"/>
            <a:ext cx="503237" cy="1188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D20402E-4056-4001-89CF-0B4802FF6865}" type="slidenum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endParaRPr lang="de-DE"/>
          </a:p>
        </p:txBody>
      </p:sp>
      <p:pic>
        <p:nvPicPr>
          <p:cNvPr id="11" name="Content Placeholder 10" descr="A screenshot of a computer&#10;&#10;Description automatically generated">
            <a:extLst>
              <a:ext uri="{FF2B5EF4-FFF2-40B4-BE49-F238E27FC236}">
                <a16:creationId xmlns:a16="http://schemas.microsoft.com/office/drawing/2014/main" id="{43E6CA58-73A1-7DB6-E14E-27419436C19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629104" y="2143499"/>
            <a:ext cx="8082456" cy="3815867"/>
          </a:xfrm>
          <a:noFill/>
        </p:spPr>
      </p:pic>
    </p:spTree>
    <p:extLst>
      <p:ext uri="{BB962C8B-B14F-4D97-AF65-F5344CB8AC3E}">
        <p14:creationId xmlns:p14="http://schemas.microsoft.com/office/powerpoint/2010/main" val="3374071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79F82-027A-33F0-E0F8-4EA36BDF8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1233150" cy="1106575"/>
          </a:xfrm>
        </p:spPr>
        <p:txBody>
          <a:bodyPr anchor="ctr">
            <a:normAutofit/>
          </a:bodyPr>
          <a:lstStyle/>
          <a:p>
            <a:r>
              <a:rPr lang="en-DE" dirty="0"/>
              <a:t>Large Object func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F6C63-37A2-C3BB-221F-552822D281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5" y="6487948"/>
            <a:ext cx="546100" cy="1188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E6872921-777C-49CD-A214-274FE80ECF53}" type="datetime1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30.04.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791974-5900-CDAB-9CC2-CD6E91471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71575" y="6485793"/>
            <a:ext cx="3529013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PostgreSQL Database Conference Belgiu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44B2BB-E7A7-783D-E7D4-C39E85EF6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487948"/>
            <a:ext cx="503237" cy="1188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D20402E-4056-4001-89CF-0B4802FF6865}" type="slidenum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de-DE"/>
          </a:p>
        </p:txBody>
      </p:sp>
      <p:pic>
        <p:nvPicPr>
          <p:cNvPr id="10" name="Content Placeholder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283228A8-1D9C-A5BC-9B38-B1F3542E4E7C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757" y="1149179"/>
            <a:ext cx="9922475" cy="5177480"/>
          </a:xfrm>
          <a:noFill/>
        </p:spPr>
      </p:pic>
    </p:spTree>
    <p:extLst>
      <p:ext uri="{BB962C8B-B14F-4D97-AF65-F5344CB8AC3E}">
        <p14:creationId xmlns:p14="http://schemas.microsoft.com/office/powerpoint/2010/main" val="20618574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131E2A-EF78-C63B-8CDF-9C8486A59D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35421"/>
            <a:ext cx="11232049" cy="4868152"/>
          </a:xfrm>
        </p:spPr>
        <p:txBody>
          <a:bodyPr/>
          <a:lstStyle/>
          <a:p>
            <a:r>
              <a:rPr lang="en-DE" dirty="0"/>
              <a:t> 2. </a:t>
            </a:r>
            <a:r>
              <a:rPr lang="en-DE" sz="1400" dirty="0"/>
              <a:t>TOAST: The oversized attribute storage technique (text, varchar, bytea, numeric)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ADF369-01AD-CEF3-448F-03052279EE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872921-777C-49CD-A214-274FE80ECF53}" type="datetime1">
              <a:rPr lang="de-DE" smtClean="0"/>
              <a:t>03.05.24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502031-BAEC-E30F-E976-441540BDC3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2D26A8-CA1F-D409-13AE-EFA75245E6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9" name="Picture 4" descr="A diagram of a graph&#10;&#10;Description automatically generated with medium confidence">
            <a:extLst>
              <a:ext uri="{FF2B5EF4-FFF2-40B4-BE49-F238E27FC236}">
                <a16:creationId xmlns:a16="http://schemas.microsoft.com/office/drawing/2014/main" id="{CA4E072E-D62B-3CA4-E904-D5ED2449A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570" y="1692166"/>
            <a:ext cx="8722719" cy="361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595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7DEB4C-90E6-687F-88A1-6F8D5B84A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25425"/>
            <a:ext cx="11233150" cy="1106575"/>
          </a:xfrm>
        </p:spPr>
        <p:txBody>
          <a:bodyPr anchor="b">
            <a:normAutofit/>
          </a:bodyPr>
          <a:lstStyle/>
          <a:p>
            <a:r>
              <a:rPr lang="en-DE" dirty="0"/>
              <a:t>How to select between Toast and pg_largeobject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B119636-E199-273B-AB09-8D4C703A90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68" y="1686423"/>
            <a:ext cx="10559555" cy="4652593"/>
          </a:xfrm>
        </p:spPr>
        <p:txBody>
          <a:bodyPr>
            <a:norm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   Easy </a:t>
            </a:r>
            <a:r>
              <a:rPr lang="de-DE" dirty="0" err="1"/>
              <a:t>for</a:t>
            </a:r>
            <a:r>
              <a:rPr lang="de-DE" dirty="0"/>
              <a:t> User                                                                               Nee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pecial</a:t>
            </a:r>
            <a:r>
              <a:rPr lang="de-DE" dirty="0"/>
              <a:t> </a:t>
            </a:r>
            <a:r>
              <a:rPr lang="de-DE" dirty="0" err="1"/>
              <a:t>functions</a:t>
            </a:r>
            <a:endParaRPr lang="de-DE" dirty="0"/>
          </a:p>
          <a:p>
            <a:r>
              <a:rPr lang="de-DE" dirty="0"/>
              <a:t>    Max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1GB                                                                      Max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4TB</a:t>
            </a:r>
          </a:p>
          <a:p>
            <a:r>
              <a:rPr lang="de-DE" dirty="0"/>
              <a:t>    </a:t>
            </a:r>
            <a:r>
              <a:rPr lang="de-DE" dirty="0" err="1"/>
              <a:t>No</a:t>
            </a:r>
            <a:r>
              <a:rPr lang="de-DE" dirty="0"/>
              <a:t> partial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retrieval</a:t>
            </a:r>
            <a:r>
              <a:rPr lang="de-DE" dirty="0"/>
              <a:t>                                                             Partial and </a:t>
            </a:r>
            <a:r>
              <a:rPr lang="de-DE" dirty="0" err="1"/>
              <a:t>streaming</a:t>
            </a:r>
            <a:r>
              <a:rPr lang="de-DE" dirty="0"/>
              <a:t> styl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retrieval</a:t>
            </a:r>
            <a:endParaRPr lang="de-DE" dirty="0"/>
          </a:p>
          <a:p>
            <a:r>
              <a:rPr lang="de-DE" dirty="0"/>
              <a:t>    Regular </a:t>
            </a:r>
            <a:r>
              <a:rPr lang="de-DE" dirty="0" err="1"/>
              <a:t>vacuum</a:t>
            </a:r>
            <a:r>
              <a:rPr lang="de-DE" dirty="0"/>
              <a:t>                                                                          Vacuum </a:t>
            </a:r>
            <a:r>
              <a:rPr lang="de-DE" dirty="0" err="1"/>
              <a:t>might</a:t>
            </a:r>
            <a:r>
              <a:rPr lang="de-DE" dirty="0"/>
              <a:t> no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nough</a:t>
            </a:r>
            <a:r>
              <a:rPr lang="de-DE" dirty="0"/>
              <a:t>                                      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814200-9E70-584A-25E2-11F0757414D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425" y="6487948"/>
            <a:ext cx="546100" cy="1188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31CF20CF-5799-474C-897D-B17FE39CAB33}" type="datetime1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30.04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C9E12B-6314-0061-5CB0-80B15FF13D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71575" y="6485793"/>
            <a:ext cx="3529013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PostgreSQL Database Conference Belgi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2EAD38D-360A-CAAB-9F64-12F1800EB83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09338" y="6487948"/>
            <a:ext cx="503237" cy="1188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CD20402E-4056-4001-89CF-0B4802FF6865}" type="slidenum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endParaRPr lang="de-DE"/>
          </a:p>
        </p:txBody>
      </p:sp>
      <p:pic>
        <p:nvPicPr>
          <p:cNvPr id="11" name="Content Placeholder 10" descr="A plate with food on it&#10;&#10;Description automatically generated">
            <a:extLst>
              <a:ext uri="{FF2B5EF4-FFF2-40B4-BE49-F238E27FC236}">
                <a16:creationId xmlns:a16="http://schemas.microsoft.com/office/drawing/2014/main" id="{84F922D9-98FD-6D7F-F785-DACFB8C4B3C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68"/>
          <a:stretch/>
        </p:blipFill>
        <p:spPr>
          <a:xfrm>
            <a:off x="523168" y="1686423"/>
            <a:ext cx="3771949" cy="28226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Subtitle 8">
            <a:extLst>
              <a:ext uri="{FF2B5EF4-FFF2-40B4-BE49-F238E27FC236}">
                <a16:creationId xmlns:a16="http://schemas.microsoft.com/office/drawing/2014/main" id="{0334824C-B7E3-DFA1-6C5B-DC20A50411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40250" y="1686423"/>
            <a:ext cx="2693773" cy="738664"/>
          </a:xfrm>
        </p:spPr>
        <p:txBody>
          <a:bodyPr/>
          <a:lstStyle/>
          <a:p>
            <a:r>
              <a:rPr lang="en-US" dirty="0"/>
              <a:t>                                </a:t>
            </a:r>
            <a:r>
              <a:rPr lang="en-US" sz="3200" b="1" dirty="0">
                <a:latin typeface="+mj-lt"/>
              </a:rPr>
              <a:t>DEPENDS!</a:t>
            </a:r>
          </a:p>
        </p:txBody>
      </p:sp>
      <p:pic>
        <p:nvPicPr>
          <p:cNvPr id="13" name="Picture 12" descr="Several boxes stacked together&#10;&#10;Description automatically generated">
            <a:extLst>
              <a:ext uri="{FF2B5EF4-FFF2-40B4-BE49-F238E27FC236}">
                <a16:creationId xmlns:a16="http://schemas.microsoft.com/office/drawing/2014/main" id="{F311E772-5198-FA48-D51C-2D01F1DE14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023" y="1263852"/>
            <a:ext cx="4205502" cy="3362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591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2621D3-FE6D-FD3F-6519-8931A6345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Vacuuml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CC4419-4368-58C6-DD4E-7B26776204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>
                <a:effectLst/>
                <a:latin typeface="+mn-lt"/>
              </a:rPr>
              <a:t>is a simple utility program that will remove any “orphaned” large objects from a PostgreSQL database</a:t>
            </a:r>
          </a:p>
          <a:p>
            <a:endParaRPr lang="en-GB" sz="1800" b="0" dirty="0">
              <a:effectLst/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n-lt"/>
              </a:rPr>
              <a:t>client  application in </a:t>
            </a:r>
            <a:r>
              <a:rPr lang="en-GB" sz="1800" dirty="0" err="1">
                <a:latin typeface="+mn-lt"/>
              </a:rPr>
              <a:t>contrib</a:t>
            </a:r>
            <a:r>
              <a:rPr lang="en-GB" sz="1800" dirty="0">
                <a:latin typeface="+mn-lt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i="0" dirty="0">
                <a:effectLst/>
                <a:latin typeface="+mn-lt"/>
              </a:rPr>
              <a:t>can be run from anywhere, independent of where the database server resides</a:t>
            </a:r>
          </a:p>
          <a:p>
            <a:endParaRPr lang="en-GB" sz="1800" b="0" i="0" dirty="0">
              <a:effectLst/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err="1">
                <a:latin typeface="+mn-lt"/>
              </a:rPr>
              <a:t>vacuumlo</a:t>
            </a:r>
            <a:r>
              <a:rPr lang="en-GB" sz="1800" b="0" i="0" dirty="0">
                <a:effectLst/>
                <a:latin typeface="+mn-lt"/>
              </a:rPr>
              <a:t> [</a:t>
            </a:r>
            <a:r>
              <a:rPr lang="en-GB" sz="1800" b="1" i="1" dirty="0">
                <a:effectLst/>
                <a:latin typeface="+mn-lt"/>
              </a:rPr>
              <a:t>option</a:t>
            </a:r>
            <a:r>
              <a:rPr lang="en-GB" sz="1800" b="0" i="0" dirty="0">
                <a:effectLst/>
                <a:latin typeface="+mn-lt"/>
              </a:rPr>
              <a:t>...] </a:t>
            </a:r>
            <a:r>
              <a:rPr lang="en-GB" sz="1800" b="1" i="1" dirty="0" err="1">
                <a:effectLst/>
                <a:latin typeface="+mn-lt"/>
              </a:rPr>
              <a:t>dbname</a:t>
            </a:r>
            <a:endParaRPr lang="en-GB" sz="1800" b="0" i="0" dirty="0">
              <a:effectLst/>
              <a:latin typeface="+mn-lt"/>
            </a:endParaRPr>
          </a:p>
          <a:p>
            <a:pPr marL="0" indent="0">
              <a:buNone/>
            </a:pPr>
            <a:endParaRPr lang="en-DE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0436DA-68E3-93F5-127D-3264D899E7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C3491F3-FEBA-4F9E-8544-1BFC264BD18A}" type="datetime1">
              <a:rPr lang="de-DE" smtClean="0"/>
              <a:t>30.04.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DC12CAE-8CB3-1535-FBDC-1E8E372F230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stgreSQL Database Conference Belgium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C7B2ED-BF53-2DC0-7730-817DBFFCD8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20402E-4056-4001-89CF-0B4802FF6865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5DF5EA3D-7816-9D80-7EA3-B21042372D4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B380966-D221-812B-7CA1-23362E4595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666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4x91NEUWRKoPK2iReGP80FAAAAAAADAAAAAwADAAAAAQADAAIA////////BAAAAAMAEAALdhUuBc+tXEuGsgtDbe7kMw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D4x91NEUWRKoPK2iReGP80DRGF0YQAbAAAABExpbmtlZFNoYXBlRGF0YQAFAAAAAAACTmFtZQAZAAAATGlua2VkU2hhcGVzRGF0YVByb3BlcnR5ABBWZXJzaW9uAAAAAAAJTGFzdFdyaXRlAAtOeo2DAQAAAAEA/////8YAxgAAAAVfaWQAEAAAAAR2FS4Fz61cS4ayC0Nt7uQzA0RhdGEAUwAAAAhQcmVzZW50YXRpb25TY2FubmVkRm9yTGlua2VkU2hhcGVzAAECTnVtYmVyRm9ybWF0U2VwYXJhdG9yTW9kZQAKAAAAQXV0b21hdGljAAACTmFtZQAkAAAATGlua2VkU2hhcGVQcmVzZW50YXRpb25TZXR0aW5nc0RhdGEAEFZlcnNpb24AAAAAAAlMYXN0V3JpdGUAy056jY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CKIT_Master">
  <a:themeElements>
    <a:clrScheme name="STACKIT">
      <a:dk1>
        <a:srgbClr val="484847"/>
      </a:dk1>
      <a:lt1>
        <a:srgbClr val="FFFFFF"/>
      </a:lt1>
      <a:dk2>
        <a:srgbClr val="909999"/>
      </a:dk2>
      <a:lt2>
        <a:srgbClr val="D1D7D6"/>
      </a:lt2>
      <a:accent1>
        <a:srgbClr val="F8EC17"/>
      </a:accent1>
      <a:accent2>
        <a:srgbClr val="04545E"/>
      </a:accent2>
      <a:accent3>
        <a:srgbClr val="518790"/>
      </a:accent3>
      <a:accent4>
        <a:srgbClr val="C1D4D7"/>
      </a:accent4>
      <a:accent5>
        <a:srgbClr val="D27560"/>
      </a:accent5>
      <a:accent6>
        <a:srgbClr val="D0BC60"/>
      </a:accent6>
      <a:hlink>
        <a:srgbClr val="518790"/>
      </a:hlink>
      <a:folHlink>
        <a:srgbClr val="C1D4D7"/>
      </a:folHlink>
    </a:clrScheme>
    <a:fontScheme name="STACKIT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algn="l">
          <a:defRPr sz="1400" b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CKIT Master" id="{085BF6D6-6AF6-4885-B6BD-76A98EFD3F19}" vid="{20A9033E-6082-43C8-AC06-2270E0F05B6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D88D41F08EE414FBCA15862EB71FCAB" ma:contentTypeVersion="19" ma:contentTypeDescription="Ein neues Dokument erstellen." ma:contentTypeScope="" ma:versionID="e58fb3a8b0951a2e9abf9316d450e19f">
  <xsd:schema xmlns:xsd="http://www.w3.org/2001/XMLSchema" xmlns:xs="http://www.w3.org/2001/XMLSchema" xmlns:p="http://schemas.microsoft.com/office/2006/metadata/properties" xmlns:ns2="117c6630-f3d8-4202-846c-7d1be568f587" xmlns:ns3="2af3f9df-cabe-4ee2-a4a6-5221e0e524b9" targetNamespace="http://schemas.microsoft.com/office/2006/metadata/properties" ma:root="true" ma:fieldsID="7a2ed5381d06cfe1f1297c50b22eee6b" ns2:_="" ns3:_="">
    <xsd:import namespace="117c6630-f3d8-4202-846c-7d1be568f587"/>
    <xsd:import namespace="2af3f9df-cabe-4ee2-a4a6-5221e0e524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Imag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7c6630-f3d8-4202-846c-7d1be568f5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116d47f0-238a-4f73-986a-f782046cdb4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Image" ma:index="24" nillable="true" ma:displayName="Image" ma:internalName="Image">
      <xsd:simpleType>
        <xsd:restriction base="dms:Unknown">
          <xsd:maxLength value="255"/>
        </xsd:restriction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3f9df-cabe-4ee2-a4a6-5221e0e524b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57406e3-6f78-4b3b-9b0a-12e994e06acd}" ma:internalName="TaxCatchAll" ma:showField="CatchAllData" ma:web="2af3f9df-cabe-4ee2-a4a6-5221e0e524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17c6630-f3d8-4202-846c-7d1be568f587">
      <Terms xmlns="http://schemas.microsoft.com/office/infopath/2007/PartnerControls"/>
    </lcf76f155ced4ddcb4097134ff3c332f>
    <Image xmlns="117c6630-f3d8-4202-846c-7d1be568f587" xsi:nil="true"/>
    <TaxCatchAll xmlns="2af3f9df-cabe-4ee2-a4a6-5221e0e524b9" xsi:nil="true"/>
  </documentManagement>
</p:properties>
</file>

<file path=customXml/itemProps1.xml><?xml version="1.0" encoding="utf-8"?>
<ds:datastoreItem xmlns:ds="http://schemas.openxmlformats.org/officeDocument/2006/customXml" ds:itemID="{B257E72E-DF3A-48C7-A1F6-CC2BE47508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603F9D-3220-418D-A0FB-70676E76A5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7c6630-f3d8-4202-846c-7d1be568f587"/>
    <ds:schemaRef ds:uri="2af3f9df-cabe-4ee2-a4a6-5221e0e524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1D971B-A148-4D06-B4C9-630C0012D979}">
  <ds:schemaRefs>
    <ds:schemaRef ds:uri="http://schemas.microsoft.com/office/2006/metadata/properties"/>
    <ds:schemaRef ds:uri="http://schemas.microsoft.com/office/infopath/2007/PartnerControls"/>
    <ds:schemaRef ds:uri="117c6630-f3d8-4202-846c-7d1be568f587"/>
    <ds:schemaRef ds:uri="2af3f9df-cabe-4ee2-a4a6-5221e0e524b9"/>
  </ds:schemaRefs>
</ds:datastoreItem>
</file>

<file path=docMetadata/LabelInfo.xml><?xml version="1.0" encoding="utf-8"?>
<clbl:labelList xmlns:clbl="http://schemas.microsoft.com/office/2020/mipLabelMetadata">
  <clbl:label id="{60b37cb2-a399-4c31-a85a-411fc8b623d3}" enabled="1" method="Standard" siteId="{d04f4717-5a6e-4b98-b3f9-6918e0385f4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TACKIT_Master</Template>
  <TotalTime>7854</TotalTime>
  <Words>618</Words>
  <Application>Microsoft Macintosh PowerPoint</Application>
  <PresentationFormat>Widescreen</PresentationFormat>
  <Paragraphs>139</Paragraphs>
  <Slides>19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Arial Black</vt:lpstr>
      <vt:lpstr>Calibri</vt:lpstr>
      <vt:lpstr>Consolas</vt:lpstr>
      <vt:lpstr>Museo Sans 300</vt:lpstr>
      <vt:lpstr>OCR A Tribute Pro</vt:lpstr>
      <vt:lpstr>Symbol</vt:lpstr>
      <vt:lpstr>Wingdings</vt:lpstr>
      <vt:lpstr>STACKIT_Master</vt:lpstr>
      <vt:lpstr>think-cell Folie</vt:lpstr>
      <vt:lpstr>Pg_largeobject, when vacuum is not enough</vt:lpstr>
      <vt:lpstr>Priyanka Chatterjee</vt:lpstr>
      <vt:lpstr>Agenda</vt:lpstr>
      <vt:lpstr>What is a large object?</vt:lpstr>
      <vt:lpstr>Postgres features for large objects</vt:lpstr>
      <vt:lpstr>Large Object function</vt:lpstr>
      <vt:lpstr>PowerPoint Presentation</vt:lpstr>
      <vt:lpstr>How to select between Toast and pg_largeobject?</vt:lpstr>
      <vt:lpstr>Vacuumlo</vt:lpstr>
      <vt:lpstr>Size: 2.542.654 bytes </vt:lpstr>
      <vt:lpstr>Importing the file as a largeobject in PG</vt:lpstr>
      <vt:lpstr>Creating a table and using the oid from above to refer to the largeobject: </vt:lpstr>
      <vt:lpstr>Deleting reference data:</vt:lpstr>
      <vt:lpstr>RUN Vacuumlo REGULARLY!!!!</vt:lpstr>
      <vt:lpstr>What happens when you run Vacuumlo</vt:lpstr>
      <vt:lpstr>Lo module</vt:lpstr>
      <vt:lpstr>PowerPoint Presentation</vt:lpstr>
      <vt:lpstr>Limitations of LO modu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g_largeobject, when vacuum is not enough</dc:title>
  <dc:creator>Priyanka Chatterjee</dc:creator>
  <cp:lastModifiedBy>Priyanka Chatterjee</cp:lastModifiedBy>
  <cp:revision>18</cp:revision>
  <dcterms:created xsi:type="dcterms:W3CDTF">2024-04-21T14:26:10Z</dcterms:created>
  <dcterms:modified xsi:type="dcterms:W3CDTF">2024-05-05T18:3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88D41F08EE414FBCA15862EB71FCAB</vt:lpwstr>
  </property>
  <property fmtid="{D5CDD505-2E9C-101B-9397-08002B2CF9AE}" pid="3" name="MediaServiceImageTags">
    <vt:lpwstr/>
  </property>
</Properties>
</file>